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tags/tag3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drawings/drawing2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drawings/drawing3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20" r:id="rId1"/>
    <p:sldMasterId id="2147483735" r:id="rId2"/>
  </p:sldMasterIdLst>
  <p:notesMasterIdLst>
    <p:notesMasterId r:id="rId10"/>
  </p:notesMasterIdLst>
  <p:sldIdLst>
    <p:sldId id="371" r:id="rId3"/>
    <p:sldId id="372" r:id="rId4"/>
    <p:sldId id="509" r:id="rId5"/>
    <p:sldId id="510" r:id="rId6"/>
    <p:sldId id="376" r:id="rId7"/>
    <p:sldId id="374" r:id="rId8"/>
    <p:sldId id="506" r:id="rId9"/>
  </p:sldIdLst>
  <p:sldSz cx="9906000" cy="6858000" type="A4"/>
  <p:notesSz cx="6735763" cy="9866313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233C483-934E-472D-BC2D-052369D3FBA8}">
          <p14:sldIdLst>
            <p14:sldId id="371"/>
            <p14:sldId id="372"/>
            <p14:sldId id="509"/>
            <p14:sldId id="510"/>
            <p14:sldId id="376"/>
            <p14:sldId id="374"/>
            <p14:sldId id="506"/>
          </p14:sldIdLst>
        </p14:section>
        <p14:section name="Раздел без заголовка" id="{C833DD02-F11A-4B51-A179-9F2D1993464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essional" initials="P" lastIdx="1" clrIdx="0">
    <p:extLst>
      <p:ext uri="{19B8F6BF-5375-455C-9EA6-DF929625EA0E}">
        <p15:presenceInfo xmlns:p15="http://schemas.microsoft.com/office/powerpoint/2012/main" userId="Professional" providerId="None"/>
      </p:ext>
    </p:extLst>
  </p:cmAuthor>
  <p:cmAuthor id="2" name="Umida I. Lutfullaeva" initials="UIL" lastIdx="1" clrIdx="1">
    <p:extLst>
      <p:ext uri="{19B8F6BF-5375-455C-9EA6-DF929625EA0E}">
        <p15:presenceInfo xmlns:p15="http://schemas.microsoft.com/office/powerpoint/2012/main" userId="S-1-5-21-567723916-1782392777-2211197970-14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6DC15F"/>
    <a:srgbClr val="FD5555"/>
    <a:srgbClr val="0B4369"/>
    <a:srgbClr val="651BEB"/>
    <a:srgbClr val="DC3135"/>
    <a:srgbClr val="A9ABAE"/>
    <a:srgbClr val="27597B"/>
    <a:srgbClr val="ABC0E4"/>
    <a:srgbClr val="799E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2832" autoAdjust="0"/>
  </p:normalViewPr>
  <p:slideViewPr>
    <p:cSldViewPr snapToGrid="0">
      <p:cViewPr varScale="1">
        <p:scale>
          <a:sx n="114" d="100"/>
          <a:sy n="114" d="100"/>
        </p:scale>
        <p:origin x="123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3978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3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\\172.25.98.11\Server2021\!%20%20%20&#1060;&#1048;&#1053;%20&#1056;&#1067;&#1053;&#1050;&#1048;\fin_market_29102024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uz-Cyrl-UZ" sz="1200" dirty="0">
                <a:solidFill>
                  <a:schemeClr val="tx1"/>
                </a:solidFill>
              </a:rPr>
              <a:t>Доходность</a:t>
            </a:r>
            <a:r>
              <a:rPr lang="uz-Cyrl-UZ" sz="1200" baseline="0" dirty="0">
                <a:solidFill>
                  <a:schemeClr val="tx1"/>
                </a:solidFill>
              </a:rPr>
              <a:t> евробондов УзПСБ, Ипотека банка и Узнацбанка, в %</a:t>
            </a:r>
            <a:endParaRPr lang="ru-RU" sz="12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1615260868111416"/>
          <c:y val="2.19972031508828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4.8084605430428022E-2"/>
          <c:y val="0.10039045568558902"/>
          <c:w val="0.88511288701042834"/>
          <c:h val="0.64707549046776525"/>
        </c:manualLayout>
      </c:layout>
      <c:lineChart>
        <c:grouping val="standard"/>
        <c:varyColors val="0"/>
        <c:ser>
          <c:idx val="0"/>
          <c:order val="0"/>
          <c:tx>
            <c:strRef>
              <c:f>'Bid NEW bonds'!$B$1</c:f>
              <c:strCache>
                <c:ptCount val="1"/>
                <c:pt idx="0">
                  <c:v>UzSQB</c:v>
                </c:pt>
              </c:strCache>
            </c:strRef>
          </c:tx>
          <c:spPr>
            <a:ln w="34925" cap="rnd">
              <a:solidFill>
                <a:srgbClr val="D53DD0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8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18C-4833-B155-76507E43F9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147B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id NEW bonds'!$A$14:$A$98</c:f>
              <c:numCache>
                <c:formatCode>m/d/yyyy</c:formatCode>
                <c:ptCount val="85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9</c:v>
                </c:pt>
                <c:pt idx="6">
                  <c:v>45668</c:v>
                </c:pt>
                <c:pt idx="7">
                  <c:v>45667</c:v>
                </c:pt>
                <c:pt idx="8">
                  <c:v>45666</c:v>
                </c:pt>
                <c:pt idx="9">
                  <c:v>45665</c:v>
                </c:pt>
                <c:pt idx="10">
                  <c:v>45664</c:v>
                </c:pt>
                <c:pt idx="11">
                  <c:v>45663</c:v>
                </c:pt>
                <c:pt idx="12">
                  <c:v>45660</c:v>
                </c:pt>
                <c:pt idx="13">
                  <c:v>45659</c:v>
                </c:pt>
                <c:pt idx="14">
                  <c:v>45658</c:v>
                </c:pt>
                <c:pt idx="15">
                  <c:v>45657</c:v>
                </c:pt>
                <c:pt idx="16">
                  <c:v>45656</c:v>
                </c:pt>
                <c:pt idx="17">
                  <c:v>45653</c:v>
                </c:pt>
                <c:pt idx="18">
                  <c:v>45652</c:v>
                </c:pt>
                <c:pt idx="19">
                  <c:v>45651</c:v>
                </c:pt>
                <c:pt idx="20">
                  <c:v>45650</c:v>
                </c:pt>
                <c:pt idx="21">
                  <c:v>45649</c:v>
                </c:pt>
                <c:pt idx="22">
                  <c:v>45646</c:v>
                </c:pt>
                <c:pt idx="23">
                  <c:v>45645</c:v>
                </c:pt>
                <c:pt idx="24">
                  <c:v>45644</c:v>
                </c:pt>
                <c:pt idx="25">
                  <c:v>45643</c:v>
                </c:pt>
                <c:pt idx="26">
                  <c:v>45642</c:v>
                </c:pt>
                <c:pt idx="27">
                  <c:v>45639</c:v>
                </c:pt>
                <c:pt idx="28">
                  <c:v>45638</c:v>
                </c:pt>
                <c:pt idx="29">
                  <c:v>45637</c:v>
                </c:pt>
                <c:pt idx="30">
                  <c:v>45636</c:v>
                </c:pt>
                <c:pt idx="31">
                  <c:v>45635</c:v>
                </c:pt>
                <c:pt idx="32">
                  <c:v>45632</c:v>
                </c:pt>
                <c:pt idx="33">
                  <c:v>45631</c:v>
                </c:pt>
                <c:pt idx="34">
                  <c:v>45630</c:v>
                </c:pt>
                <c:pt idx="35">
                  <c:v>45629</c:v>
                </c:pt>
                <c:pt idx="36">
                  <c:v>45628</c:v>
                </c:pt>
                <c:pt idx="37">
                  <c:v>45625</c:v>
                </c:pt>
                <c:pt idx="38">
                  <c:v>45624</c:v>
                </c:pt>
                <c:pt idx="39">
                  <c:v>45623</c:v>
                </c:pt>
                <c:pt idx="40">
                  <c:v>45622</c:v>
                </c:pt>
                <c:pt idx="41">
                  <c:v>45621</c:v>
                </c:pt>
                <c:pt idx="42">
                  <c:v>45618</c:v>
                </c:pt>
                <c:pt idx="43">
                  <c:v>45617</c:v>
                </c:pt>
                <c:pt idx="44">
                  <c:v>45616</c:v>
                </c:pt>
                <c:pt idx="45">
                  <c:v>45615</c:v>
                </c:pt>
                <c:pt idx="46">
                  <c:v>45614</c:v>
                </c:pt>
                <c:pt idx="47">
                  <c:v>45611</c:v>
                </c:pt>
                <c:pt idx="48">
                  <c:v>45610</c:v>
                </c:pt>
                <c:pt idx="49">
                  <c:v>45609</c:v>
                </c:pt>
                <c:pt idx="50">
                  <c:v>45608</c:v>
                </c:pt>
                <c:pt idx="51">
                  <c:v>45607</c:v>
                </c:pt>
                <c:pt idx="52">
                  <c:v>45604</c:v>
                </c:pt>
                <c:pt idx="53">
                  <c:v>45603</c:v>
                </c:pt>
                <c:pt idx="54">
                  <c:v>45602</c:v>
                </c:pt>
                <c:pt idx="55">
                  <c:v>45601</c:v>
                </c:pt>
                <c:pt idx="56">
                  <c:v>45600</c:v>
                </c:pt>
                <c:pt idx="57">
                  <c:v>45597</c:v>
                </c:pt>
                <c:pt idx="58">
                  <c:v>45596</c:v>
                </c:pt>
                <c:pt idx="59">
                  <c:v>45595</c:v>
                </c:pt>
                <c:pt idx="60">
                  <c:v>45594</c:v>
                </c:pt>
                <c:pt idx="61">
                  <c:v>45593</c:v>
                </c:pt>
                <c:pt idx="62">
                  <c:v>45590</c:v>
                </c:pt>
                <c:pt idx="63">
                  <c:v>45589</c:v>
                </c:pt>
                <c:pt idx="64">
                  <c:v>45588</c:v>
                </c:pt>
                <c:pt idx="65">
                  <c:v>45587</c:v>
                </c:pt>
                <c:pt idx="66">
                  <c:v>45586</c:v>
                </c:pt>
                <c:pt idx="67">
                  <c:v>45583</c:v>
                </c:pt>
                <c:pt idx="68">
                  <c:v>45582</c:v>
                </c:pt>
                <c:pt idx="69">
                  <c:v>45581</c:v>
                </c:pt>
                <c:pt idx="70">
                  <c:v>45580</c:v>
                </c:pt>
                <c:pt idx="71">
                  <c:v>45579</c:v>
                </c:pt>
                <c:pt idx="72">
                  <c:v>45576</c:v>
                </c:pt>
                <c:pt idx="73">
                  <c:v>45575</c:v>
                </c:pt>
                <c:pt idx="74">
                  <c:v>45574</c:v>
                </c:pt>
                <c:pt idx="75">
                  <c:v>45573</c:v>
                </c:pt>
                <c:pt idx="76">
                  <c:v>45572</c:v>
                </c:pt>
                <c:pt idx="77">
                  <c:v>45569</c:v>
                </c:pt>
                <c:pt idx="78">
                  <c:v>45568</c:v>
                </c:pt>
                <c:pt idx="79">
                  <c:v>45567</c:v>
                </c:pt>
                <c:pt idx="80">
                  <c:v>45566</c:v>
                </c:pt>
                <c:pt idx="81">
                  <c:v>45565</c:v>
                </c:pt>
                <c:pt idx="82">
                  <c:v>45562</c:v>
                </c:pt>
                <c:pt idx="83">
                  <c:v>45561</c:v>
                </c:pt>
                <c:pt idx="84">
                  <c:v>45560</c:v>
                </c:pt>
              </c:numCache>
            </c:numRef>
          </c:cat>
          <c:val>
            <c:numRef>
              <c:f>'Bid NEW bonds'!$B$14:$B$98</c:f>
              <c:numCache>
                <c:formatCode>General</c:formatCode>
                <c:ptCount val="85"/>
                <c:pt idx="0">
                  <c:v>8.593</c:v>
                </c:pt>
                <c:pt idx="1">
                  <c:v>8.5559999999999992</c:v>
                </c:pt>
                <c:pt idx="2">
                  <c:v>8.5470000000000006</c:v>
                </c:pt>
                <c:pt idx="3">
                  <c:v>8.66</c:v>
                </c:pt>
                <c:pt idx="4">
                  <c:v>8.6890000000000001</c:v>
                </c:pt>
                <c:pt idx="5">
                  <c:v>8.7059999999999995</c:v>
                </c:pt>
                <c:pt idx="6">
                  <c:v>8.7059999999999995</c:v>
                </c:pt>
                <c:pt idx="7">
                  <c:v>8.7059999999999995</c:v>
                </c:pt>
                <c:pt idx="8">
                  <c:v>8.6310000000000002</c:v>
                </c:pt>
                <c:pt idx="9">
                  <c:v>8.5609999999999999</c:v>
                </c:pt>
                <c:pt idx="10">
                  <c:v>8.5510000000000002</c:v>
                </c:pt>
                <c:pt idx="11">
                  <c:v>8.4860000000000007</c:v>
                </c:pt>
                <c:pt idx="12">
                  <c:v>8.4830000000000005</c:v>
                </c:pt>
                <c:pt idx="13">
                  <c:v>8.468</c:v>
                </c:pt>
                <c:pt idx="14">
                  <c:v>8.4260000000000002</c:v>
                </c:pt>
                <c:pt idx="15">
                  <c:v>8.4260000000000002</c:v>
                </c:pt>
                <c:pt idx="16">
                  <c:v>8.4320000000000004</c:v>
                </c:pt>
                <c:pt idx="17">
                  <c:v>8.4920000000000009</c:v>
                </c:pt>
                <c:pt idx="18">
                  <c:v>8.4429999999999996</c:v>
                </c:pt>
                <c:pt idx="19">
                  <c:v>8.4580000000000002</c:v>
                </c:pt>
                <c:pt idx="20">
                  <c:v>8.4580000000000002</c:v>
                </c:pt>
                <c:pt idx="21">
                  <c:v>8.468</c:v>
                </c:pt>
                <c:pt idx="22">
                  <c:v>8.452</c:v>
                </c:pt>
                <c:pt idx="23">
                  <c:v>8.4689999999999994</c:v>
                </c:pt>
                <c:pt idx="24">
                  <c:v>8.5459999999999994</c:v>
                </c:pt>
                <c:pt idx="25">
                  <c:v>8.4280000000000008</c:v>
                </c:pt>
                <c:pt idx="26">
                  <c:v>8.4239999999999995</c:v>
                </c:pt>
                <c:pt idx="27">
                  <c:v>8.42</c:v>
                </c:pt>
                <c:pt idx="28">
                  <c:v>8.3840000000000003</c:v>
                </c:pt>
                <c:pt idx="29">
                  <c:v>8.4019999999999992</c:v>
                </c:pt>
                <c:pt idx="30">
                  <c:v>8.36</c:v>
                </c:pt>
                <c:pt idx="31">
                  <c:v>8.4619999999999997</c:v>
                </c:pt>
                <c:pt idx="32">
                  <c:v>8.4529999999999994</c:v>
                </c:pt>
                <c:pt idx="33">
                  <c:v>8.4689999999999994</c:v>
                </c:pt>
                <c:pt idx="34">
                  <c:v>8.4540000000000006</c:v>
                </c:pt>
                <c:pt idx="35">
                  <c:v>8.5</c:v>
                </c:pt>
                <c:pt idx="36">
                  <c:v>8.4740000000000002</c:v>
                </c:pt>
                <c:pt idx="37">
                  <c:v>8.4380000000000006</c:v>
                </c:pt>
                <c:pt idx="38">
                  <c:v>8.5190000000000001</c:v>
                </c:pt>
                <c:pt idx="39">
                  <c:v>8.5190000000000001</c:v>
                </c:pt>
                <c:pt idx="40">
                  <c:v>8.5440000000000005</c:v>
                </c:pt>
                <c:pt idx="41">
                  <c:v>8.5250000000000004</c:v>
                </c:pt>
                <c:pt idx="42">
                  <c:v>8.6159999999999997</c:v>
                </c:pt>
                <c:pt idx="43">
                  <c:v>8.6820000000000004</c:v>
                </c:pt>
                <c:pt idx="44">
                  <c:v>8.6790000000000003</c:v>
                </c:pt>
                <c:pt idx="45">
                  <c:v>8.6750000000000007</c:v>
                </c:pt>
                <c:pt idx="46">
                  <c:v>8.6790000000000003</c:v>
                </c:pt>
                <c:pt idx="47">
                  <c:v>8.7070000000000007</c:v>
                </c:pt>
                <c:pt idx="48">
                  <c:v>8.734</c:v>
                </c:pt>
                <c:pt idx="49">
                  <c:v>8.7110000000000003</c:v>
                </c:pt>
                <c:pt idx="50">
                  <c:v>8.7260000000000009</c:v>
                </c:pt>
                <c:pt idx="51">
                  <c:v>8.7260000000000009</c:v>
                </c:pt>
                <c:pt idx="52">
                  <c:v>8.7349999999999994</c:v>
                </c:pt>
                <c:pt idx="53">
                  <c:v>8.7639999999999993</c:v>
                </c:pt>
                <c:pt idx="54">
                  <c:v>8.8379999999999992</c:v>
                </c:pt>
                <c:pt idx="55">
                  <c:v>8.7989999999999995</c:v>
                </c:pt>
                <c:pt idx="56">
                  <c:v>8.8040000000000003</c:v>
                </c:pt>
                <c:pt idx="57">
                  <c:v>8.8759999999999994</c:v>
                </c:pt>
                <c:pt idx="58">
                  <c:v>8.8539999999999992</c:v>
                </c:pt>
                <c:pt idx="59">
                  <c:v>8.9060000000000006</c:v>
                </c:pt>
                <c:pt idx="60">
                  <c:v>8.8689999999999998</c:v>
                </c:pt>
                <c:pt idx="61">
                  <c:v>8.9149999999999991</c:v>
                </c:pt>
                <c:pt idx="62">
                  <c:v>8.8780000000000001</c:v>
                </c:pt>
                <c:pt idx="63">
                  <c:v>8.8550000000000004</c:v>
                </c:pt>
                <c:pt idx="64">
                  <c:v>8.8789999999999996</c:v>
                </c:pt>
                <c:pt idx="65">
                  <c:v>8.86</c:v>
                </c:pt>
                <c:pt idx="66">
                  <c:v>8.8569999999999993</c:v>
                </c:pt>
                <c:pt idx="67">
                  <c:v>8.8490000000000002</c:v>
                </c:pt>
                <c:pt idx="68">
                  <c:v>8.8680000000000003</c:v>
                </c:pt>
                <c:pt idx="69">
                  <c:v>8.8260000000000005</c:v>
                </c:pt>
                <c:pt idx="70">
                  <c:v>8.8640000000000008</c:v>
                </c:pt>
                <c:pt idx="71">
                  <c:v>8.8640000000000008</c:v>
                </c:pt>
                <c:pt idx="72">
                  <c:v>8.9049999999999994</c:v>
                </c:pt>
                <c:pt idx="73">
                  <c:v>8.8949999999999996</c:v>
                </c:pt>
                <c:pt idx="74">
                  <c:v>8.9540000000000006</c:v>
                </c:pt>
                <c:pt idx="75">
                  <c:v>8.9190000000000005</c:v>
                </c:pt>
                <c:pt idx="76">
                  <c:v>8.9459999999999997</c:v>
                </c:pt>
                <c:pt idx="77">
                  <c:v>8.9939999999999998</c:v>
                </c:pt>
                <c:pt idx="78">
                  <c:v>8.9540000000000006</c:v>
                </c:pt>
                <c:pt idx="79">
                  <c:v>8.9039999999999999</c:v>
                </c:pt>
                <c:pt idx="80">
                  <c:v>8.8780000000000001</c:v>
                </c:pt>
                <c:pt idx="81">
                  <c:v>8.9369999999999994</c:v>
                </c:pt>
                <c:pt idx="82">
                  <c:v>8.9169999999999998</c:v>
                </c:pt>
                <c:pt idx="83">
                  <c:v>8.9770000000000003</c:v>
                </c:pt>
                <c:pt idx="84">
                  <c:v>8.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8C-4833-B155-76507E43F99E}"/>
            </c:ext>
          </c:extLst>
        </c:ser>
        <c:ser>
          <c:idx val="1"/>
          <c:order val="1"/>
          <c:tx>
            <c:strRef>
              <c:f>'Bid NEW bonds'!$C$1</c:f>
              <c:strCache>
                <c:ptCount val="1"/>
                <c:pt idx="0">
                  <c:v>NBU</c:v>
                </c:pt>
              </c:strCache>
            </c:strRef>
          </c:tx>
          <c:spPr>
            <a:ln w="34925" cap="rnd">
              <a:solidFill>
                <a:srgbClr val="003399">
                  <a:lumMod val="60000"/>
                  <a:lumOff val="40000"/>
                </a:srgb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8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18C-4833-B155-76507E43F9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70C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id NEW bonds'!$A$14:$A$98</c:f>
              <c:numCache>
                <c:formatCode>m/d/yyyy</c:formatCode>
                <c:ptCount val="85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9</c:v>
                </c:pt>
                <c:pt idx="6">
                  <c:v>45668</c:v>
                </c:pt>
                <c:pt idx="7">
                  <c:v>45667</c:v>
                </c:pt>
                <c:pt idx="8">
                  <c:v>45666</c:v>
                </c:pt>
                <c:pt idx="9">
                  <c:v>45665</c:v>
                </c:pt>
                <c:pt idx="10">
                  <c:v>45664</c:v>
                </c:pt>
                <c:pt idx="11">
                  <c:v>45663</c:v>
                </c:pt>
                <c:pt idx="12">
                  <c:v>45660</c:v>
                </c:pt>
                <c:pt idx="13">
                  <c:v>45659</c:v>
                </c:pt>
                <c:pt idx="14">
                  <c:v>45658</c:v>
                </c:pt>
                <c:pt idx="15">
                  <c:v>45657</c:v>
                </c:pt>
                <c:pt idx="16">
                  <c:v>45656</c:v>
                </c:pt>
                <c:pt idx="17">
                  <c:v>45653</c:v>
                </c:pt>
                <c:pt idx="18">
                  <c:v>45652</c:v>
                </c:pt>
                <c:pt idx="19">
                  <c:v>45651</c:v>
                </c:pt>
                <c:pt idx="20">
                  <c:v>45650</c:v>
                </c:pt>
                <c:pt idx="21">
                  <c:v>45649</c:v>
                </c:pt>
                <c:pt idx="22">
                  <c:v>45646</c:v>
                </c:pt>
                <c:pt idx="23">
                  <c:v>45645</c:v>
                </c:pt>
                <c:pt idx="24">
                  <c:v>45644</c:v>
                </c:pt>
                <c:pt idx="25">
                  <c:v>45643</c:v>
                </c:pt>
                <c:pt idx="26">
                  <c:v>45642</c:v>
                </c:pt>
                <c:pt idx="27">
                  <c:v>45639</c:v>
                </c:pt>
                <c:pt idx="28">
                  <c:v>45638</c:v>
                </c:pt>
                <c:pt idx="29">
                  <c:v>45637</c:v>
                </c:pt>
                <c:pt idx="30">
                  <c:v>45636</c:v>
                </c:pt>
                <c:pt idx="31">
                  <c:v>45635</c:v>
                </c:pt>
                <c:pt idx="32">
                  <c:v>45632</c:v>
                </c:pt>
                <c:pt idx="33">
                  <c:v>45631</c:v>
                </c:pt>
                <c:pt idx="34">
                  <c:v>45630</c:v>
                </c:pt>
                <c:pt idx="35">
                  <c:v>45629</c:v>
                </c:pt>
                <c:pt idx="36">
                  <c:v>45628</c:v>
                </c:pt>
                <c:pt idx="37">
                  <c:v>45625</c:v>
                </c:pt>
                <c:pt idx="38">
                  <c:v>45624</c:v>
                </c:pt>
                <c:pt idx="39">
                  <c:v>45623</c:v>
                </c:pt>
                <c:pt idx="40">
                  <c:v>45622</c:v>
                </c:pt>
                <c:pt idx="41">
                  <c:v>45621</c:v>
                </c:pt>
                <c:pt idx="42">
                  <c:v>45618</c:v>
                </c:pt>
                <c:pt idx="43">
                  <c:v>45617</c:v>
                </c:pt>
                <c:pt idx="44">
                  <c:v>45616</c:v>
                </c:pt>
                <c:pt idx="45">
                  <c:v>45615</c:v>
                </c:pt>
                <c:pt idx="46">
                  <c:v>45614</c:v>
                </c:pt>
                <c:pt idx="47">
                  <c:v>45611</c:v>
                </c:pt>
                <c:pt idx="48">
                  <c:v>45610</c:v>
                </c:pt>
                <c:pt idx="49">
                  <c:v>45609</c:v>
                </c:pt>
                <c:pt idx="50">
                  <c:v>45608</c:v>
                </c:pt>
                <c:pt idx="51">
                  <c:v>45607</c:v>
                </c:pt>
                <c:pt idx="52">
                  <c:v>45604</c:v>
                </c:pt>
                <c:pt idx="53">
                  <c:v>45603</c:v>
                </c:pt>
                <c:pt idx="54">
                  <c:v>45602</c:v>
                </c:pt>
                <c:pt idx="55">
                  <c:v>45601</c:v>
                </c:pt>
                <c:pt idx="56">
                  <c:v>45600</c:v>
                </c:pt>
                <c:pt idx="57">
                  <c:v>45597</c:v>
                </c:pt>
                <c:pt idx="58">
                  <c:v>45596</c:v>
                </c:pt>
                <c:pt idx="59">
                  <c:v>45595</c:v>
                </c:pt>
                <c:pt idx="60">
                  <c:v>45594</c:v>
                </c:pt>
                <c:pt idx="61">
                  <c:v>45593</c:v>
                </c:pt>
                <c:pt idx="62">
                  <c:v>45590</c:v>
                </c:pt>
                <c:pt idx="63">
                  <c:v>45589</c:v>
                </c:pt>
                <c:pt idx="64">
                  <c:v>45588</c:v>
                </c:pt>
                <c:pt idx="65">
                  <c:v>45587</c:v>
                </c:pt>
                <c:pt idx="66">
                  <c:v>45586</c:v>
                </c:pt>
                <c:pt idx="67">
                  <c:v>45583</c:v>
                </c:pt>
                <c:pt idx="68">
                  <c:v>45582</c:v>
                </c:pt>
                <c:pt idx="69">
                  <c:v>45581</c:v>
                </c:pt>
                <c:pt idx="70">
                  <c:v>45580</c:v>
                </c:pt>
                <c:pt idx="71">
                  <c:v>45579</c:v>
                </c:pt>
                <c:pt idx="72">
                  <c:v>45576</c:v>
                </c:pt>
                <c:pt idx="73">
                  <c:v>45575</c:v>
                </c:pt>
                <c:pt idx="74">
                  <c:v>45574</c:v>
                </c:pt>
                <c:pt idx="75">
                  <c:v>45573</c:v>
                </c:pt>
                <c:pt idx="76">
                  <c:v>45572</c:v>
                </c:pt>
                <c:pt idx="77">
                  <c:v>45569</c:v>
                </c:pt>
                <c:pt idx="78">
                  <c:v>45568</c:v>
                </c:pt>
                <c:pt idx="79">
                  <c:v>45567</c:v>
                </c:pt>
                <c:pt idx="80">
                  <c:v>45566</c:v>
                </c:pt>
                <c:pt idx="81">
                  <c:v>45565</c:v>
                </c:pt>
                <c:pt idx="82">
                  <c:v>45562</c:v>
                </c:pt>
                <c:pt idx="83">
                  <c:v>45561</c:v>
                </c:pt>
                <c:pt idx="84">
                  <c:v>45560</c:v>
                </c:pt>
              </c:numCache>
            </c:numRef>
          </c:cat>
          <c:val>
            <c:numRef>
              <c:f>'Bid NEW bonds'!$C$14:$C$207</c:f>
              <c:numCache>
                <c:formatCode>General</c:formatCode>
                <c:ptCount val="194"/>
                <c:pt idx="0">
                  <c:v>7.94</c:v>
                </c:pt>
                <c:pt idx="1">
                  <c:v>7.984</c:v>
                </c:pt>
                <c:pt idx="2">
                  <c:v>7.9859999999999998</c:v>
                </c:pt>
                <c:pt idx="3">
                  <c:v>8.0039999999999996</c:v>
                </c:pt>
                <c:pt idx="4">
                  <c:v>7.9939999999999998</c:v>
                </c:pt>
                <c:pt idx="5">
                  <c:v>7.9950000000000001</c:v>
                </c:pt>
                <c:pt idx="6">
                  <c:v>7.9950000000000001</c:v>
                </c:pt>
                <c:pt idx="7">
                  <c:v>7.9950000000000001</c:v>
                </c:pt>
                <c:pt idx="8">
                  <c:v>7.9770000000000003</c:v>
                </c:pt>
                <c:pt idx="9">
                  <c:v>8.0640000000000001</c:v>
                </c:pt>
                <c:pt idx="10">
                  <c:v>8.0329999999999995</c:v>
                </c:pt>
                <c:pt idx="11">
                  <c:v>8.0109999999999992</c:v>
                </c:pt>
                <c:pt idx="12">
                  <c:v>8.17</c:v>
                </c:pt>
                <c:pt idx="13">
                  <c:v>7.9969999999999999</c:v>
                </c:pt>
                <c:pt idx="14">
                  <c:v>7.9969999999999999</c:v>
                </c:pt>
                <c:pt idx="15">
                  <c:v>7.9969999999999999</c:v>
                </c:pt>
                <c:pt idx="16">
                  <c:v>7.91</c:v>
                </c:pt>
                <c:pt idx="17">
                  <c:v>7.91</c:v>
                </c:pt>
                <c:pt idx="18">
                  <c:v>7.9059999999999997</c:v>
                </c:pt>
                <c:pt idx="19">
                  <c:v>7.9059999999999997</c:v>
                </c:pt>
                <c:pt idx="20">
                  <c:v>7.9059999999999997</c:v>
                </c:pt>
                <c:pt idx="21">
                  <c:v>7.9539999999999997</c:v>
                </c:pt>
                <c:pt idx="22">
                  <c:v>8</c:v>
                </c:pt>
                <c:pt idx="23">
                  <c:v>7.9</c:v>
                </c:pt>
                <c:pt idx="24">
                  <c:v>7.8689999999999998</c:v>
                </c:pt>
                <c:pt idx="25">
                  <c:v>7.8689999999999998</c:v>
                </c:pt>
                <c:pt idx="26">
                  <c:v>7.867</c:v>
                </c:pt>
                <c:pt idx="27">
                  <c:v>7.87</c:v>
                </c:pt>
                <c:pt idx="28">
                  <c:v>7.9489999999999998</c:v>
                </c:pt>
                <c:pt idx="29">
                  <c:v>7.8840000000000003</c:v>
                </c:pt>
                <c:pt idx="30">
                  <c:v>7.8780000000000001</c:v>
                </c:pt>
                <c:pt idx="31">
                  <c:v>7.7389999999999999</c:v>
                </c:pt>
                <c:pt idx="32">
                  <c:v>7.7569999999999997</c:v>
                </c:pt>
                <c:pt idx="33">
                  <c:v>7.7569999999999997</c:v>
                </c:pt>
                <c:pt idx="34">
                  <c:v>7.7859999999999996</c:v>
                </c:pt>
                <c:pt idx="35">
                  <c:v>7.7859999999999996</c:v>
                </c:pt>
                <c:pt idx="36">
                  <c:v>7.7729999999999997</c:v>
                </c:pt>
                <c:pt idx="37">
                  <c:v>7.8259999999999996</c:v>
                </c:pt>
                <c:pt idx="38">
                  <c:v>7.8159999999999998</c:v>
                </c:pt>
                <c:pt idx="39">
                  <c:v>7.8159999999999998</c:v>
                </c:pt>
                <c:pt idx="40">
                  <c:v>7.8330000000000002</c:v>
                </c:pt>
                <c:pt idx="41">
                  <c:v>7.8179999999999996</c:v>
                </c:pt>
                <c:pt idx="42">
                  <c:v>7.798</c:v>
                </c:pt>
                <c:pt idx="43">
                  <c:v>7.8070000000000004</c:v>
                </c:pt>
                <c:pt idx="44">
                  <c:v>7.8010000000000002</c:v>
                </c:pt>
                <c:pt idx="45">
                  <c:v>7.8090000000000002</c:v>
                </c:pt>
                <c:pt idx="46">
                  <c:v>7.82</c:v>
                </c:pt>
                <c:pt idx="47">
                  <c:v>7.82</c:v>
                </c:pt>
                <c:pt idx="48">
                  <c:v>7.82</c:v>
                </c:pt>
                <c:pt idx="49">
                  <c:v>7.8319999999999999</c:v>
                </c:pt>
                <c:pt idx="50">
                  <c:v>7.8319999999999999</c:v>
                </c:pt>
                <c:pt idx="51">
                  <c:v>7.8319999999999999</c:v>
                </c:pt>
                <c:pt idx="52">
                  <c:v>7.8860000000000001</c:v>
                </c:pt>
                <c:pt idx="53">
                  <c:v>7.8860000000000001</c:v>
                </c:pt>
                <c:pt idx="54">
                  <c:v>7.8979999999999997</c:v>
                </c:pt>
                <c:pt idx="55">
                  <c:v>7.9</c:v>
                </c:pt>
                <c:pt idx="56">
                  <c:v>7.8959999999999999</c:v>
                </c:pt>
                <c:pt idx="57">
                  <c:v>7.9</c:v>
                </c:pt>
                <c:pt idx="58">
                  <c:v>7.899</c:v>
                </c:pt>
                <c:pt idx="59">
                  <c:v>7.7809999999999997</c:v>
                </c:pt>
                <c:pt idx="60">
                  <c:v>7.8490000000000002</c:v>
                </c:pt>
                <c:pt idx="61">
                  <c:v>7.931</c:v>
                </c:pt>
                <c:pt idx="62">
                  <c:v>7.9160000000000004</c:v>
                </c:pt>
                <c:pt idx="63">
                  <c:v>7.9160000000000004</c:v>
                </c:pt>
                <c:pt idx="64">
                  <c:v>7.9169999999999998</c:v>
                </c:pt>
                <c:pt idx="65">
                  <c:v>7.9279999999999999</c:v>
                </c:pt>
                <c:pt idx="66">
                  <c:v>7.9009999999999998</c:v>
                </c:pt>
                <c:pt idx="67">
                  <c:v>7.9219999999999997</c:v>
                </c:pt>
                <c:pt idx="68">
                  <c:v>7.9169999999999998</c:v>
                </c:pt>
                <c:pt idx="69">
                  <c:v>7.9450000000000003</c:v>
                </c:pt>
                <c:pt idx="70">
                  <c:v>7.899</c:v>
                </c:pt>
                <c:pt idx="71">
                  <c:v>7.899</c:v>
                </c:pt>
                <c:pt idx="72">
                  <c:v>7.9989999999999997</c:v>
                </c:pt>
                <c:pt idx="73">
                  <c:v>8.0009999999999994</c:v>
                </c:pt>
                <c:pt idx="74">
                  <c:v>7.9989999999999997</c:v>
                </c:pt>
                <c:pt idx="75">
                  <c:v>7.9909999999999997</c:v>
                </c:pt>
                <c:pt idx="76">
                  <c:v>7.99</c:v>
                </c:pt>
                <c:pt idx="77">
                  <c:v>7.984</c:v>
                </c:pt>
                <c:pt idx="78">
                  <c:v>8.01</c:v>
                </c:pt>
                <c:pt idx="79">
                  <c:v>8.0939999999999994</c:v>
                </c:pt>
                <c:pt idx="80">
                  <c:v>7.9710000000000001</c:v>
                </c:pt>
                <c:pt idx="81">
                  <c:v>7.9569999999999999</c:v>
                </c:pt>
                <c:pt idx="82">
                  <c:v>8.0079999999999991</c:v>
                </c:pt>
                <c:pt idx="83">
                  <c:v>8.0120000000000005</c:v>
                </c:pt>
                <c:pt idx="84">
                  <c:v>7.9889999999999999</c:v>
                </c:pt>
                <c:pt idx="85">
                  <c:v>7.9870000000000001</c:v>
                </c:pt>
                <c:pt idx="86">
                  <c:v>7.992</c:v>
                </c:pt>
                <c:pt idx="87">
                  <c:v>7.99</c:v>
                </c:pt>
                <c:pt idx="88">
                  <c:v>8.02</c:v>
                </c:pt>
                <c:pt idx="89">
                  <c:v>8.0579999999999998</c:v>
                </c:pt>
                <c:pt idx="90">
                  <c:v>8.1210000000000004</c:v>
                </c:pt>
                <c:pt idx="91">
                  <c:v>8.1329999999999991</c:v>
                </c:pt>
                <c:pt idx="92">
                  <c:v>8.1620000000000008</c:v>
                </c:pt>
                <c:pt idx="93">
                  <c:v>8.1820000000000004</c:v>
                </c:pt>
                <c:pt idx="94">
                  <c:v>8.1969999999999992</c:v>
                </c:pt>
                <c:pt idx="95">
                  <c:v>8.2460000000000004</c:v>
                </c:pt>
                <c:pt idx="96">
                  <c:v>8.2460000000000004</c:v>
                </c:pt>
                <c:pt idx="97">
                  <c:v>8.2460000000000004</c:v>
                </c:pt>
                <c:pt idx="98">
                  <c:v>8.2439999999999998</c:v>
                </c:pt>
                <c:pt idx="99">
                  <c:v>8.3049999999999997</c:v>
                </c:pt>
                <c:pt idx="100">
                  <c:v>8.2569999999999997</c:v>
                </c:pt>
                <c:pt idx="101">
                  <c:v>8.2569999999999997</c:v>
                </c:pt>
                <c:pt idx="102">
                  <c:v>8.2889999999999997</c:v>
                </c:pt>
                <c:pt idx="103">
                  <c:v>8.3079999999999998</c:v>
                </c:pt>
                <c:pt idx="104">
                  <c:v>8.3130000000000006</c:v>
                </c:pt>
                <c:pt idx="105">
                  <c:v>8.4640000000000004</c:v>
                </c:pt>
                <c:pt idx="106">
                  <c:v>8.548</c:v>
                </c:pt>
                <c:pt idx="107">
                  <c:v>8.548</c:v>
                </c:pt>
                <c:pt idx="108">
                  <c:v>8.5950000000000006</c:v>
                </c:pt>
                <c:pt idx="109">
                  <c:v>8.5830000000000002</c:v>
                </c:pt>
                <c:pt idx="110">
                  <c:v>8.48</c:v>
                </c:pt>
                <c:pt idx="111">
                  <c:v>8.4920000000000009</c:v>
                </c:pt>
                <c:pt idx="112">
                  <c:v>8.548</c:v>
                </c:pt>
                <c:pt idx="113">
                  <c:v>8.5950000000000006</c:v>
                </c:pt>
                <c:pt idx="114">
                  <c:v>8.5830000000000002</c:v>
                </c:pt>
                <c:pt idx="115">
                  <c:v>8.48</c:v>
                </c:pt>
                <c:pt idx="116">
                  <c:v>8.4920000000000009</c:v>
                </c:pt>
                <c:pt idx="117">
                  <c:v>8.48</c:v>
                </c:pt>
                <c:pt idx="118">
                  <c:v>8.4809999999999999</c:v>
                </c:pt>
                <c:pt idx="119">
                  <c:v>8.5280000000000005</c:v>
                </c:pt>
                <c:pt idx="120">
                  <c:v>8.5749999999999993</c:v>
                </c:pt>
                <c:pt idx="121">
                  <c:v>8.5709999999999997</c:v>
                </c:pt>
                <c:pt idx="122">
                  <c:v>8.4870000000000001</c:v>
                </c:pt>
                <c:pt idx="123">
                  <c:v>8.5440000000000005</c:v>
                </c:pt>
                <c:pt idx="124">
                  <c:v>8.5449999999999999</c:v>
                </c:pt>
                <c:pt idx="125">
                  <c:v>8.5210000000000008</c:v>
                </c:pt>
                <c:pt idx="126">
                  <c:v>8.5510000000000002</c:v>
                </c:pt>
                <c:pt idx="127">
                  <c:v>8.5730000000000004</c:v>
                </c:pt>
                <c:pt idx="128">
                  <c:v>8.6560000000000006</c:v>
                </c:pt>
                <c:pt idx="129">
                  <c:v>8.6560000000000006</c:v>
                </c:pt>
                <c:pt idx="131">
                  <c:v>8.6809999999999992</c:v>
                </c:pt>
                <c:pt idx="132">
                  <c:v>8.6880000000000006</c:v>
                </c:pt>
                <c:pt idx="133">
                  <c:v>8.6880000000000006</c:v>
                </c:pt>
                <c:pt idx="136">
                  <c:v>8.7360000000000007</c:v>
                </c:pt>
                <c:pt idx="137">
                  <c:v>8.7330000000000005</c:v>
                </c:pt>
                <c:pt idx="138">
                  <c:v>8.6880000000000006</c:v>
                </c:pt>
                <c:pt idx="139">
                  <c:v>8.7189999999999994</c:v>
                </c:pt>
                <c:pt idx="140">
                  <c:v>8.6839999999999993</c:v>
                </c:pt>
                <c:pt idx="141">
                  <c:v>8.6560000000000006</c:v>
                </c:pt>
                <c:pt idx="142">
                  <c:v>8.6890000000000001</c:v>
                </c:pt>
                <c:pt idx="144">
                  <c:v>8.69</c:v>
                </c:pt>
                <c:pt idx="145">
                  <c:v>8.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8C-4833-B155-76507E43F99E}"/>
            </c:ext>
          </c:extLst>
        </c:ser>
        <c:ser>
          <c:idx val="2"/>
          <c:order val="2"/>
          <c:tx>
            <c:strRef>
              <c:f>'Bid NEW bonds'!$D$1</c:f>
              <c:strCache>
                <c:ptCount val="1"/>
                <c:pt idx="0">
                  <c:v>Ipoteka bank</c:v>
                </c:pt>
              </c:strCache>
            </c:strRef>
          </c:tx>
          <c:spPr>
            <a:ln w="34925" cap="rnd">
              <a:solidFill>
                <a:srgbClr val="9B6BF2">
                  <a:lumMod val="75000"/>
                </a:srgb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8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18C-4833-B155-76507E43F9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030A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id NEW bonds'!$A$14:$A$98</c:f>
              <c:numCache>
                <c:formatCode>m/d/yyyy</c:formatCode>
                <c:ptCount val="85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9</c:v>
                </c:pt>
                <c:pt idx="6">
                  <c:v>45668</c:v>
                </c:pt>
                <c:pt idx="7">
                  <c:v>45667</c:v>
                </c:pt>
                <c:pt idx="8">
                  <c:v>45666</c:v>
                </c:pt>
                <c:pt idx="9">
                  <c:v>45665</c:v>
                </c:pt>
                <c:pt idx="10">
                  <c:v>45664</c:v>
                </c:pt>
                <c:pt idx="11">
                  <c:v>45663</c:v>
                </c:pt>
                <c:pt idx="12">
                  <c:v>45660</c:v>
                </c:pt>
                <c:pt idx="13">
                  <c:v>45659</c:v>
                </c:pt>
                <c:pt idx="14">
                  <c:v>45658</c:v>
                </c:pt>
                <c:pt idx="15">
                  <c:v>45657</c:v>
                </c:pt>
                <c:pt idx="16">
                  <c:v>45656</c:v>
                </c:pt>
                <c:pt idx="17">
                  <c:v>45653</c:v>
                </c:pt>
                <c:pt idx="18">
                  <c:v>45652</c:v>
                </c:pt>
                <c:pt idx="19">
                  <c:v>45651</c:v>
                </c:pt>
                <c:pt idx="20">
                  <c:v>45650</c:v>
                </c:pt>
                <c:pt idx="21">
                  <c:v>45649</c:v>
                </c:pt>
                <c:pt idx="22">
                  <c:v>45646</c:v>
                </c:pt>
                <c:pt idx="23">
                  <c:v>45645</c:v>
                </c:pt>
                <c:pt idx="24">
                  <c:v>45644</c:v>
                </c:pt>
                <c:pt idx="25">
                  <c:v>45643</c:v>
                </c:pt>
                <c:pt idx="26">
                  <c:v>45642</c:v>
                </c:pt>
                <c:pt idx="27">
                  <c:v>45639</c:v>
                </c:pt>
                <c:pt idx="28">
                  <c:v>45638</c:v>
                </c:pt>
                <c:pt idx="29">
                  <c:v>45637</c:v>
                </c:pt>
                <c:pt idx="30">
                  <c:v>45636</c:v>
                </c:pt>
                <c:pt idx="31">
                  <c:v>45635</c:v>
                </c:pt>
                <c:pt idx="32">
                  <c:v>45632</c:v>
                </c:pt>
                <c:pt idx="33">
                  <c:v>45631</c:v>
                </c:pt>
                <c:pt idx="34">
                  <c:v>45630</c:v>
                </c:pt>
                <c:pt idx="35">
                  <c:v>45629</c:v>
                </c:pt>
                <c:pt idx="36">
                  <c:v>45628</c:v>
                </c:pt>
                <c:pt idx="37">
                  <c:v>45625</c:v>
                </c:pt>
                <c:pt idx="38">
                  <c:v>45624</c:v>
                </c:pt>
                <c:pt idx="39">
                  <c:v>45623</c:v>
                </c:pt>
                <c:pt idx="40">
                  <c:v>45622</c:v>
                </c:pt>
                <c:pt idx="41">
                  <c:v>45621</c:v>
                </c:pt>
                <c:pt idx="42">
                  <c:v>45618</c:v>
                </c:pt>
                <c:pt idx="43">
                  <c:v>45617</c:v>
                </c:pt>
                <c:pt idx="44">
                  <c:v>45616</c:v>
                </c:pt>
                <c:pt idx="45">
                  <c:v>45615</c:v>
                </c:pt>
                <c:pt idx="46">
                  <c:v>45614</c:v>
                </c:pt>
                <c:pt idx="47">
                  <c:v>45611</c:v>
                </c:pt>
                <c:pt idx="48">
                  <c:v>45610</c:v>
                </c:pt>
                <c:pt idx="49">
                  <c:v>45609</c:v>
                </c:pt>
                <c:pt idx="50">
                  <c:v>45608</c:v>
                </c:pt>
                <c:pt idx="51">
                  <c:v>45607</c:v>
                </c:pt>
                <c:pt idx="52">
                  <c:v>45604</c:v>
                </c:pt>
                <c:pt idx="53">
                  <c:v>45603</c:v>
                </c:pt>
                <c:pt idx="54">
                  <c:v>45602</c:v>
                </c:pt>
                <c:pt idx="55">
                  <c:v>45601</c:v>
                </c:pt>
                <c:pt idx="56">
                  <c:v>45600</c:v>
                </c:pt>
                <c:pt idx="57">
                  <c:v>45597</c:v>
                </c:pt>
                <c:pt idx="58">
                  <c:v>45596</c:v>
                </c:pt>
                <c:pt idx="59">
                  <c:v>45595</c:v>
                </c:pt>
                <c:pt idx="60">
                  <c:v>45594</c:v>
                </c:pt>
                <c:pt idx="61">
                  <c:v>45593</c:v>
                </c:pt>
                <c:pt idx="62">
                  <c:v>45590</c:v>
                </c:pt>
                <c:pt idx="63">
                  <c:v>45589</c:v>
                </c:pt>
                <c:pt idx="64">
                  <c:v>45588</c:v>
                </c:pt>
                <c:pt idx="65">
                  <c:v>45587</c:v>
                </c:pt>
                <c:pt idx="66">
                  <c:v>45586</c:v>
                </c:pt>
                <c:pt idx="67">
                  <c:v>45583</c:v>
                </c:pt>
                <c:pt idx="68">
                  <c:v>45582</c:v>
                </c:pt>
                <c:pt idx="69">
                  <c:v>45581</c:v>
                </c:pt>
                <c:pt idx="70">
                  <c:v>45580</c:v>
                </c:pt>
                <c:pt idx="71">
                  <c:v>45579</c:v>
                </c:pt>
                <c:pt idx="72">
                  <c:v>45576</c:v>
                </c:pt>
                <c:pt idx="73">
                  <c:v>45575</c:v>
                </c:pt>
                <c:pt idx="74">
                  <c:v>45574</c:v>
                </c:pt>
                <c:pt idx="75">
                  <c:v>45573</c:v>
                </c:pt>
                <c:pt idx="76">
                  <c:v>45572</c:v>
                </c:pt>
                <c:pt idx="77">
                  <c:v>45569</c:v>
                </c:pt>
                <c:pt idx="78">
                  <c:v>45568</c:v>
                </c:pt>
                <c:pt idx="79">
                  <c:v>45567</c:v>
                </c:pt>
                <c:pt idx="80">
                  <c:v>45566</c:v>
                </c:pt>
                <c:pt idx="81">
                  <c:v>45565</c:v>
                </c:pt>
                <c:pt idx="82">
                  <c:v>45562</c:v>
                </c:pt>
                <c:pt idx="83">
                  <c:v>45561</c:v>
                </c:pt>
                <c:pt idx="84">
                  <c:v>45560</c:v>
                </c:pt>
              </c:numCache>
            </c:numRef>
          </c:cat>
          <c:val>
            <c:numRef>
              <c:f>'Bid NEW bonds'!$D$14:$D$194</c:f>
              <c:numCache>
                <c:formatCode>General</c:formatCode>
                <c:ptCount val="181"/>
                <c:pt idx="0">
                  <c:v>7.407</c:v>
                </c:pt>
                <c:pt idx="1">
                  <c:v>7.4119999999999999</c:v>
                </c:pt>
                <c:pt idx="2">
                  <c:v>7.3959999999999999</c:v>
                </c:pt>
                <c:pt idx="3">
                  <c:v>7.4370000000000003</c:v>
                </c:pt>
                <c:pt idx="4">
                  <c:v>7.41</c:v>
                </c:pt>
                <c:pt idx="5">
                  <c:v>7.3520000000000003</c:v>
                </c:pt>
                <c:pt idx="6">
                  <c:v>7.3520000000000003</c:v>
                </c:pt>
                <c:pt idx="7">
                  <c:v>7.3520000000000003</c:v>
                </c:pt>
                <c:pt idx="8">
                  <c:v>7.2910000000000004</c:v>
                </c:pt>
                <c:pt idx="9">
                  <c:v>7.3010000000000002</c:v>
                </c:pt>
                <c:pt idx="10">
                  <c:v>7.2969999999999997</c:v>
                </c:pt>
                <c:pt idx="11">
                  <c:v>7.3940000000000001</c:v>
                </c:pt>
                <c:pt idx="12">
                  <c:v>7.3029999999999999</c:v>
                </c:pt>
                <c:pt idx="13">
                  <c:v>7.3620000000000001</c:v>
                </c:pt>
                <c:pt idx="14">
                  <c:v>7.1269999999999998</c:v>
                </c:pt>
                <c:pt idx="15">
                  <c:v>7.1269999999999998</c:v>
                </c:pt>
                <c:pt idx="16">
                  <c:v>7.0890000000000004</c:v>
                </c:pt>
                <c:pt idx="17">
                  <c:v>7.0629999999999997</c:v>
                </c:pt>
                <c:pt idx="18">
                  <c:v>6.2640000000000002</c:v>
                </c:pt>
                <c:pt idx="19">
                  <c:v>7.4640000000000004</c:v>
                </c:pt>
                <c:pt idx="20">
                  <c:v>7.4640000000000004</c:v>
                </c:pt>
                <c:pt idx="21">
                  <c:v>7.6340000000000003</c:v>
                </c:pt>
                <c:pt idx="22">
                  <c:v>7.6639999999999997</c:v>
                </c:pt>
                <c:pt idx="23">
                  <c:v>7.7030000000000003</c:v>
                </c:pt>
                <c:pt idx="24">
                  <c:v>7.4980000000000002</c:v>
                </c:pt>
                <c:pt idx="25">
                  <c:v>7.45</c:v>
                </c:pt>
                <c:pt idx="26">
                  <c:v>7.37</c:v>
                </c:pt>
                <c:pt idx="27">
                  <c:v>7.3609999999999998</c:v>
                </c:pt>
                <c:pt idx="28">
                  <c:v>7.4089999999999998</c:v>
                </c:pt>
                <c:pt idx="29">
                  <c:v>7.1989999999999998</c:v>
                </c:pt>
                <c:pt idx="30">
                  <c:v>7.1310000000000002</c:v>
                </c:pt>
                <c:pt idx="31">
                  <c:v>7.1630000000000003</c:v>
                </c:pt>
                <c:pt idx="32">
                  <c:v>7.1289999999999996</c:v>
                </c:pt>
                <c:pt idx="33">
                  <c:v>7.1109999999999998</c:v>
                </c:pt>
                <c:pt idx="34">
                  <c:v>7.1710000000000003</c:v>
                </c:pt>
                <c:pt idx="35">
                  <c:v>7.1420000000000003</c:v>
                </c:pt>
                <c:pt idx="36">
                  <c:v>7.0620000000000003</c:v>
                </c:pt>
                <c:pt idx="37">
                  <c:v>7.2380000000000004</c:v>
                </c:pt>
                <c:pt idx="38">
                  <c:v>7.266</c:v>
                </c:pt>
                <c:pt idx="39">
                  <c:v>7.266</c:v>
                </c:pt>
                <c:pt idx="40">
                  <c:v>7.3360000000000003</c:v>
                </c:pt>
                <c:pt idx="41">
                  <c:v>7.0819999999999999</c:v>
                </c:pt>
                <c:pt idx="42">
                  <c:v>7.1420000000000003</c:v>
                </c:pt>
                <c:pt idx="43">
                  <c:v>7.1260000000000003</c:v>
                </c:pt>
                <c:pt idx="44">
                  <c:v>7.1120000000000001</c:v>
                </c:pt>
                <c:pt idx="45">
                  <c:v>7.1070000000000002</c:v>
                </c:pt>
                <c:pt idx="46">
                  <c:v>7.1319999999999997</c:v>
                </c:pt>
                <c:pt idx="47">
                  <c:v>7.1509999999999998</c:v>
                </c:pt>
                <c:pt idx="48">
                  <c:v>7.1479999999999997</c:v>
                </c:pt>
                <c:pt idx="49">
                  <c:v>7.13</c:v>
                </c:pt>
                <c:pt idx="50">
                  <c:v>7.1559999999999997</c:v>
                </c:pt>
                <c:pt idx="51">
                  <c:v>7.1379999999999999</c:v>
                </c:pt>
                <c:pt idx="52">
                  <c:v>7.1379999999999999</c:v>
                </c:pt>
                <c:pt idx="53">
                  <c:v>7.133</c:v>
                </c:pt>
                <c:pt idx="54">
                  <c:v>7.1310000000000002</c:v>
                </c:pt>
                <c:pt idx="55">
                  <c:v>7.1020000000000003</c:v>
                </c:pt>
                <c:pt idx="56">
                  <c:v>7.1109999999999998</c:v>
                </c:pt>
                <c:pt idx="57">
                  <c:v>7.1429999999999998</c:v>
                </c:pt>
                <c:pt idx="58">
                  <c:v>7.1189999999999998</c:v>
                </c:pt>
                <c:pt idx="59">
                  <c:v>7.1520000000000001</c:v>
                </c:pt>
                <c:pt idx="60">
                  <c:v>7.1059999999999999</c:v>
                </c:pt>
                <c:pt idx="61">
                  <c:v>7.125</c:v>
                </c:pt>
                <c:pt idx="62">
                  <c:v>7.11</c:v>
                </c:pt>
                <c:pt idx="63">
                  <c:v>7.1059999999999999</c:v>
                </c:pt>
                <c:pt idx="64">
                  <c:v>7.1020000000000003</c:v>
                </c:pt>
                <c:pt idx="65">
                  <c:v>7.0949999999999998</c:v>
                </c:pt>
                <c:pt idx="66">
                  <c:v>7.1120000000000001</c:v>
                </c:pt>
                <c:pt idx="67">
                  <c:v>7.0640000000000001</c:v>
                </c:pt>
                <c:pt idx="68">
                  <c:v>7.117</c:v>
                </c:pt>
                <c:pt idx="69">
                  <c:v>7.0759999999999996</c:v>
                </c:pt>
                <c:pt idx="70">
                  <c:v>7.0990000000000002</c:v>
                </c:pt>
                <c:pt idx="71">
                  <c:v>7.0990000000000002</c:v>
                </c:pt>
                <c:pt idx="72">
                  <c:v>7.1180000000000003</c:v>
                </c:pt>
                <c:pt idx="73">
                  <c:v>7.1020000000000003</c:v>
                </c:pt>
                <c:pt idx="74">
                  <c:v>7.181</c:v>
                </c:pt>
                <c:pt idx="75">
                  <c:v>7.1539999999999999</c:v>
                </c:pt>
                <c:pt idx="76">
                  <c:v>7.2050000000000001</c:v>
                </c:pt>
                <c:pt idx="77">
                  <c:v>7.1269999999999998</c:v>
                </c:pt>
                <c:pt idx="78">
                  <c:v>7.0519999999999996</c:v>
                </c:pt>
                <c:pt idx="79">
                  <c:v>7.0540000000000003</c:v>
                </c:pt>
                <c:pt idx="80">
                  <c:v>7.0940000000000003</c:v>
                </c:pt>
                <c:pt idx="81">
                  <c:v>7.2350000000000003</c:v>
                </c:pt>
                <c:pt idx="82">
                  <c:v>7.2770000000000001</c:v>
                </c:pt>
                <c:pt idx="83">
                  <c:v>7.407</c:v>
                </c:pt>
                <c:pt idx="84">
                  <c:v>7.3579999999999997</c:v>
                </c:pt>
                <c:pt idx="85">
                  <c:v>7.3659999999999997</c:v>
                </c:pt>
                <c:pt idx="86">
                  <c:v>7.3949999999999996</c:v>
                </c:pt>
                <c:pt idx="87">
                  <c:v>7.452</c:v>
                </c:pt>
                <c:pt idx="88">
                  <c:v>7.5049999999999999</c:v>
                </c:pt>
                <c:pt idx="89">
                  <c:v>7.5250000000000004</c:v>
                </c:pt>
                <c:pt idx="90">
                  <c:v>7.4470000000000001</c:v>
                </c:pt>
                <c:pt idx="91">
                  <c:v>7.4189999999999996</c:v>
                </c:pt>
                <c:pt idx="92">
                  <c:v>7.5019999999999998</c:v>
                </c:pt>
                <c:pt idx="93">
                  <c:v>7.65</c:v>
                </c:pt>
                <c:pt idx="94">
                  <c:v>7.74</c:v>
                </c:pt>
                <c:pt idx="95">
                  <c:v>7.7249999999999996</c:v>
                </c:pt>
                <c:pt idx="96">
                  <c:v>7.8529999999999998</c:v>
                </c:pt>
                <c:pt idx="97">
                  <c:v>7.7350000000000003</c:v>
                </c:pt>
                <c:pt idx="98">
                  <c:v>7.8259999999999996</c:v>
                </c:pt>
                <c:pt idx="99">
                  <c:v>7.7990000000000004</c:v>
                </c:pt>
                <c:pt idx="100">
                  <c:v>7.931</c:v>
                </c:pt>
                <c:pt idx="101">
                  <c:v>7.931</c:v>
                </c:pt>
                <c:pt idx="102">
                  <c:v>7.9740000000000002</c:v>
                </c:pt>
                <c:pt idx="103">
                  <c:v>7.8529999999999998</c:v>
                </c:pt>
                <c:pt idx="104">
                  <c:v>7.6529999999999996</c:v>
                </c:pt>
                <c:pt idx="105">
                  <c:v>7.6369999999999996</c:v>
                </c:pt>
                <c:pt idx="106">
                  <c:v>7.6669999999999998</c:v>
                </c:pt>
                <c:pt idx="107">
                  <c:v>7.641</c:v>
                </c:pt>
                <c:pt idx="108">
                  <c:v>7.7130000000000001</c:v>
                </c:pt>
                <c:pt idx="109">
                  <c:v>7.633</c:v>
                </c:pt>
                <c:pt idx="110">
                  <c:v>7.718</c:v>
                </c:pt>
                <c:pt idx="111">
                  <c:v>7.7610000000000001</c:v>
                </c:pt>
                <c:pt idx="112">
                  <c:v>7.7229999999999999</c:v>
                </c:pt>
                <c:pt idx="113">
                  <c:v>7.7409999999999997</c:v>
                </c:pt>
                <c:pt idx="114">
                  <c:v>7.7430000000000003</c:v>
                </c:pt>
                <c:pt idx="115">
                  <c:v>7.7080000000000002</c:v>
                </c:pt>
                <c:pt idx="116">
                  <c:v>7.7759999999999998</c:v>
                </c:pt>
                <c:pt idx="117">
                  <c:v>7.8090000000000002</c:v>
                </c:pt>
                <c:pt idx="118">
                  <c:v>7.7889999999999997</c:v>
                </c:pt>
                <c:pt idx="119">
                  <c:v>7.7050000000000001</c:v>
                </c:pt>
                <c:pt idx="120">
                  <c:v>7.7160000000000002</c:v>
                </c:pt>
                <c:pt idx="121">
                  <c:v>7.6059999999999999</c:v>
                </c:pt>
                <c:pt idx="122">
                  <c:v>7.49</c:v>
                </c:pt>
                <c:pt idx="123">
                  <c:v>7.5990000000000002</c:v>
                </c:pt>
                <c:pt idx="124">
                  <c:v>7.6189999999999998</c:v>
                </c:pt>
                <c:pt idx="125">
                  <c:v>7.7030000000000003</c:v>
                </c:pt>
                <c:pt idx="126">
                  <c:v>7.7309999999999999</c:v>
                </c:pt>
                <c:pt idx="127" formatCode="0.00">
                  <c:v>7.74</c:v>
                </c:pt>
                <c:pt idx="128" formatCode="0.00">
                  <c:v>7.7320000000000002</c:v>
                </c:pt>
                <c:pt idx="129" formatCode="0.00">
                  <c:v>7.7759999999999998</c:v>
                </c:pt>
                <c:pt idx="130" formatCode="0.00">
                  <c:v>7.7839999999999998</c:v>
                </c:pt>
                <c:pt idx="131" formatCode="0.00">
                  <c:v>7.8869999999999996</c:v>
                </c:pt>
                <c:pt idx="132" formatCode="0.00">
                  <c:v>7.7240000000000002</c:v>
                </c:pt>
                <c:pt idx="133">
                  <c:v>7.681</c:v>
                </c:pt>
                <c:pt idx="134">
                  <c:v>7.6559999999999997</c:v>
                </c:pt>
                <c:pt idx="135">
                  <c:v>7.78</c:v>
                </c:pt>
                <c:pt idx="136" formatCode="0.000">
                  <c:v>7.82</c:v>
                </c:pt>
                <c:pt idx="137" formatCode="0.000">
                  <c:v>7.609</c:v>
                </c:pt>
                <c:pt idx="138" formatCode="0.000">
                  <c:v>7.7329999999999997</c:v>
                </c:pt>
                <c:pt idx="139" formatCode="0.000">
                  <c:v>7.6669999999999998</c:v>
                </c:pt>
                <c:pt idx="140" formatCode="0.000">
                  <c:v>7.6680000000000001</c:v>
                </c:pt>
                <c:pt idx="141" formatCode="0.000">
                  <c:v>7.7350000000000003</c:v>
                </c:pt>
                <c:pt idx="142">
                  <c:v>7.6840000000000002</c:v>
                </c:pt>
                <c:pt idx="143">
                  <c:v>7.7770000000000001</c:v>
                </c:pt>
                <c:pt idx="144">
                  <c:v>7.7770000000000001</c:v>
                </c:pt>
                <c:pt idx="145">
                  <c:v>7.793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18C-4833-B155-76507E43F9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9900015"/>
        <c:axId val="1069905423"/>
      </c:lineChart>
      <c:dateAx>
        <c:axId val="1069900015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0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069905423"/>
        <c:crosses val="autoZero"/>
        <c:auto val="1"/>
        <c:lblOffset val="100"/>
        <c:baseTimeUnit val="days"/>
      </c:dateAx>
      <c:valAx>
        <c:axId val="1069905423"/>
        <c:scaling>
          <c:orientation val="minMax"/>
          <c:max val="9.6"/>
          <c:min val="6.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069900015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2756081219662267"/>
          <c:w val="0.92752912030253531"/>
          <c:h val="7.1870119037860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ysClr val="window" lastClr="FFFFFF"/>
      </a:solidFill>
      <a:round/>
    </a:ln>
    <a:effectLst/>
  </c:spPr>
  <c:txPr>
    <a:bodyPr/>
    <a:lstStyle/>
    <a:p>
      <a:pPr>
        <a:defRPr>
          <a:latin typeface="Corbel" panose="020B0503020204020204" pitchFamily="34" charset="0"/>
        </a:defRPr>
      </a:pPr>
      <a:endParaRPr lang="ru-RU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5">
                    <a:lumMod val="7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100" dirty="0">
                <a:solidFill>
                  <a:schemeClr val="accent5">
                    <a:lumMod val="75000"/>
                  </a:schemeClr>
                </a:solidFill>
              </a:rPr>
              <a:t>Динамика цен на нефть </a:t>
            </a:r>
            <a:r>
              <a:rPr lang="en-US" sz="1100" dirty="0">
                <a:solidFill>
                  <a:schemeClr val="accent5">
                    <a:lumMod val="75000"/>
                  </a:schemeClr>
                </a:solidFill>
              </a:rPr>
              <a:t>Brent</a:t>
            </a:r>
          </a:p>
          <a:p>
            <a:pPr>
              <a:defRPr sz="1200">
                <a:solidFill>
                  <a:schemeClr val="accent5">
                    <a:lumMod val="75000"/>
                  </a:schemeClr>
                </a:solidFill>
              </a:defRPr>
            </a:pPr>
            <a:r>
              <a:rPr lang="en-US" sz="1100" dirty="0">
                <a:solidFill>
                  <a:schemeClr val="accent5">
                    <a:lumMod val="75000"/>
                  </a:schemeClr>
                </a:solidFill>
              </a:rPr>
              <a:t>(</a:t>
            </a:r>
            <a:r>
              <a:rPr lang="ru-RU" sz="1100" dirty="0">
                <a:solidFill>
                  <a:schemeClr val="accent5">
                    <a:lumMod val="75000"/>
                  </a:schemeClr>
                </a:solidFill>
              </a:rPr>
              <a:t>за баррель в долл. США 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accent5">
                  <a:lumMod val="75000"/>
                </a:schemeClr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225516584455828"/>
          <c:y val="0.21183054513621652"/>
          <c:w val="0.86071847844218463"/>
          <c:h val="0.4979759163378753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651BEB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cat>
            <c:numRef>
              <c:f>BRENT!$A$10:$A$192</c:f>
              <c:numCache>
                <c:formatCode>m/d/yyyy</c:formatCode>
                <c:ptCount val="183"/>
                <c:pt idx="0">
                  <c:v>45677</c:v>
                </c:pt>
                <c:pt idx="1">
                  <c:v>45674</c:v>
                </c:pt>
                <c:pt idx="2">
                  <c:v>45673</c:v>
                </c:pt>
                <c:pt idx="3">
                  <c:v>45672</c:v>
                </c:pt>
                <c:pt idx="4">
                  <c:v>45671</c:v>
                </c:pt>
                <c:pt idx="5">
                  <c:v>45670</c:v>
                </c:pt>
                <c:pt idx="6">
                  <c:v>45667</c:v>
                </c:pt>
                <c:pt idx="7">
                  <c:v>45666</c:v>
                </c:pt>
                <c:pt idx="8">
                  <c:v>45665</c:v>
                </c:pt>
                <c:pt idx="9">
                  <c:v>45664</c:v>
                </c:pt>
                <c:pt idx="10">
                  <c:v>45663</c:v>
                </c:pt>
                <c:pt idx="11">
                  <c:v>45660</c:v>
                </c:pt>
                <c:pt idx="12">
                  <c:v>45659</c:v>
                </c:pt>
                <c:pt idx="13">
                  <c:v>45658</c:v>
                </c:pt>
                <c:pt idx="14">
                  <c:v>45657</c:v>
                </c:pt>
                <c:pt idx="15">
                  <c:v>45656</c:v>
                </c:pt>
                <c:pt idx="16">
                  <c:v>45653</c:v>
                </c:pt>
                <c:pt idx="17">
                  <c:v>45652</c:v>
                </c:pt>
                <c:pt idx="18">
                  <c:v>45651</c:v>
                </c:pt>
                <c:pt idx="19">
                  <c:v>45650</c:v>
                </c:pt>
                <c:pt idx="20">
                  <c:v>45649</c:v>
                </c:pt>
                <c:pt idx="21">
                  <c:v>45646</c:v>
                </c:pt>
                <c:pt idx="22">
                  <c:v>45645</c:v>
                </c:pt>
                <c:pt idx="23">
                  <c:v>45644</c:v>
                </c:pt>
                <c:pt idx="24">
                  <c:v>45643</c:v>
                </c:pt>
                <c:pt idx="25">
                  <c:v>45642</c:v>
                </c:pt>
                <c:pt idx="26">
                  <c:v>45639</c:v>
                </c:pt>
                <c:pt idx="27">
                  <c:v>45638</c:v>
                </c:pt>
                <c:pt idx="28">
                  <c:v>45637</c:v>
                </c:pt>
                <c:pt idx="29">
                  <c:v>45636</c:v>
                </c:pt>
                <c:pt idx="30">
                  <c:v>45635</c:v>
                </c:pt>
                <c:pt idx="31">
                  <c:v>45632</c:v>
                </c:pt>
                <c:pt idx="32">
                  <c:v>45631</c:v>
                </c:pt>
                <c:pt idx="33">
                  <c:v>45630</c:v>
                </c:pt>
                <c:pt idx="34">
                  <c:v>45629</c:v>
                </c:pt>
                <c:pt idx="35">
                  <c:v>45628</c:v>
                </c:pt>
                <c:pt idx="36">
                  <c:v>45625</c:v>
                </c:pt>
                <c:pt idx="37">
                  <c:v>45624</c:v>
                </c:pt>
                <c:pt idx="38">
                  <c:v>45623</c:v>
                </c:pt>
                <c:pt idx="39">
                  <c:v>45622</c:v>
                </c:pt>
                <c:pt idx="40">
                  <c:v>45621</c:v>
                </c:pt>
                <c:pt idx="41">
                  <c:v>45618</c:v>
                </c:pt>
                <c:pt idx="42">
                  <c:v>45617</c:v>
                </c:pt>
                <c:pt idx="43">
                  <c:v>45616</c:v>
                </c:pt>
                <c:pt idx="44">
                  <c:v>45615</c:v>
                </c:pt>
                <c:pt idx="45">
                  <c:v>45614</c:v>
                </c:pt>
                <c:pt idx="46">
                  <c:v>45611</c:v>
                </c:pt>
                <c:pt idx="47">
                  <c:v>45610</c:v>
                </c:pt>
                <c:pt idx="48">
                  <c:v>45609</c:v>
                </c:pt>
                <c:pt idx="49">
                  <c:v>45608</c:v>
                </c:pt>
                <c:pt idx="50">
                  <c:v>45607</c:v>
                </c:pt>
                <c:pt idx="51">
                  <c:v>45604</c:v>
                </c:pt>
                <c:pt idx="52">
                  <c:v>45603</c:v>
                </c:pt>
                <c:pt idx="53">
                  <c:v>45602</c:v>
                </c:pt>
                <c:pt idx="54">
                  <c:v>45601</c:v>
                </c:pt>
                <c:pt idx="55">
                  <c:v>45600</c:v>
                </c:pt>
                <c:pt idx="56">
                  <c:v>45597</c:v>
                </c:pt>
                <c:pt idx="57">
                  <c:v>45596</c:v>
                </c:pt>
                <c:pt idx="58">
                  <c:v>45595</c:v>
                </c:pt>
                <c:pt idx="59">
                  <c:v>45594</c:v>
                </c:pt>
                <c:pt idx="60">
                  <c:v>45593</c:v>
                </c:pt>
                <c:pt idx="61">
                  <c:v>45590</c:v>
                </c:pt>
                <c:pt idx="62">
                  <c:v>45589</c:v>
                </c:pt>
                <c:pt idx="63">
                  <c:v>45588</c:v>
                </c:pt>
                <c:pt idx="64">
                  <c:v>45587</c:v>
                </c:pt>
                <c:pt idx="65">
                  <c:v>45586</c:v>
                </c:pt>
                <c:pt idx="66">
                  <c:v>45583</c:v>
                </c:pt>
                <c:pt idx="67">
                  <c:v>45582</c:v>
                </c:pt>
                <c:pt idx="68">
                  <c:v>45581</c:v>
                </c:pt>
                <c:pt idx="69">
                  <c:v>45580</c:v>
                </c:pt>
                <c:pt idx="70">
                  <c:v>45579</c:v>
                </c:pt>
                <c:pt idx="71">
                  <c:v>45576</c:v>
                </c:pt>
                <c:pt idx="72">
                  <c:v>45575</c:v>
                </c:pt>
                <c:pt idx="73">
                  <c:v>45574</c:v>
                </c:pt>
                <c:pt idx="74">
                  <c:v>45573</c:v>
                </c:pt>
                <c:pt idx="75">
                  <c:v>45572</c:v>
                </c:pt>
                <c:pt idx="76">
                  <c:v>45569</c:v>
                </c:pt>
                <c:pt idx="77">
                  <c:v>45568</c:v>
                </c:pt>
                <c:pt idx="78">
                  <c:v>45567</c:v>
                </c:pt>
                <c:pt idx="79">
                  <c:v>45566</c:v>
                </c:pt>
                <c:pt idx="80">
                  <c:v>45565</c:v>
                </c:pt>
                <c:pt idx="81">
                  <c:v>45562</c:v>
                </c:pt>
                <c:pt idx="82">
                  <c:v>45561</c:v>
                </c:pt>
                <c:pt idx="83">
                  <c:v>45560</c:v>
                </c:pt>
                <c:pt idx="84">
                  <c:v>45559</c:v>
                </c:pt>
                <c:pt idx="85">
                  <c:v>45558</c:v>
                </c:pt>
                <c:pt idx="86">
                  <c:v>45555</c:v>
                </c:pt>
                <c:pt idx="87">
                  <c:v>45554</c:v>
                </c:pt>
                <c:pt idx="88">
                  <c:v>45553</c:v>
                </c:pt>
                <c:pt idx="89">
                  <c:v>45552</c:v>
                </c:pt>
                <c:pt idx="90">
                  <c:v>45551</c:v>
                </c:pt>
                <c:pt idx="91">
                  <c:v>45548</c:v>
                </c:pt>
                <c:pt idx="92">
                  <c:v>45547</c:v>
                </c:pt>
                <c:pt idx="93">
                  <c:v>45546</c:v>
                </c:pt>
                <c:pt idx="94">
                  <c:v>45545</c:v>
                </c:pt>
                <c:pt idx="95">
                  <c:v>45544</c:v>
                </c:pt>
                <c:pt idx="96">
                  <c:v>45541</c:v>
                </c:pt>
                <c:pt idx="97">
                  <c:v>45540</c:v>
                </c:pt>
                <c:pt idx="98">
                  <c:v>45539</c:v>
                </c:pt>
                <c:pt idx="99">
                  <c:v>45538</c:v>
                </c:pt>
                <c:pt idx="100">
                  <c:v>45537</c:v>
                </c:pt>
                <c:pt idx="101">
                  <c:v>45534</c:v>
                </c:pt>
                <c:pt idx="102">
                  <c:v>45533</c:v>
                </c:pt>
                <c:pt idx="103">
                  <c:v>45532</c:v>
                </c:pt>
                <c:pt idx="104">
                  <c:v>45531</c:v>
                </c:pt>
                <c:pt idx="105">
                  <c:v>45530</c:v>
                </c:pt>
                <c:pt idx="106">
                  <c:v>45527</c:v>
                </c:pt>
                <c:pt idx="107">
                  <c:v>45526</c:v>
                </c:pt>
                <c:pt idx="108">
                  <c:v>45525</c:v>
                </c:pt>
                <c:pt idx="109">
                  <c:v>45524</c:v>
                </c:pt>
                <c:pt idx="110">
                  <c:v>45523</c:v>
                </c:pt>
                <c:pt idx="111">
                  <c:v>45520</c:v>
                </c:pt>
                <c:pt idx="112">
                  <c:v>45519</c:v>
                </c:pt>
                <c:pt idx="113">
                  <c:v>45518</c:v>
                </c:pt>
                <c:pt idx="114">
                  <c:v>45517</c:v>
                </c:pt>
                <c:pt idx="115">
                  <c:v>45516</c:v>
                </c:pt>
                <c:pt idx="116">
                  <c:v>45513</c:v>
                </c:pt>
                <c:pt idx="117">
                  <c:v>45512</c:v>
                </c:pt>
                <c:pt idx="118">
                  <c:v>45511</c:v>
                </c:pt>
                <c:pt idx="119">
                  <c:v>45510</c:v>
                </c:pt>
                <c:pt idx="120">
                  <c:v>45509</c:v>
                </c:pt>
                <c:pt idx="121">
                  <c:v>45506</c:v>
                </c:pt>
                <c:pt idx="122">
                  <c:v>45505</c:v>
                </c:pt>
                <c:pt idx="123">
                  <c:v>45504</c:v>
                </c:pt>
                <c:pt idx="124">
                  <c:v>45503</c:v>
                </c:pt>
                <c:pt idx="125">
                  <c:v>45502</c:v>
                </c:pt>
                <c:pt idx="126">
                  <c:v>45499</c:v>
                </c:pt>
                <c:pt idx="127">
                  <c:v>45498</c:v>
                </c:pt>
                <c:pt idx="128">
                  <c:v>45497</c:v>
                </c:pt>
                <c:pt idx="129">
                  <c:v>45496</c:v>
                </c:pt>
                <c:pt idx="130">
                  <c:v>45495</c:v>
                </c:pt>
                <c:pt idx="131">
                  <c:v>45492</c:v>
                </c:pt>
                <c:pt idx="132">
                  <c:v>45491</c:v>
                </c:pt>
                <c:pt idx="133">
                  <c:v>45490</c:v>
                </c:pt>
                <c:pt idx="134">
                  <c:v>45489</c:v>
                </c:pt>
                <c:pt idx="135">
                  <c:v>45488</c:v>
                </c:pt>
                <c:pt idx="136">
                  <c:v>45485</c:v>
                </c:pt>
                <c:pt idx="137">
                  <c:v>45484</c:v>
                </c:pt>
                <c:pt idx="138">
                  <c:v>45483</c:v>
                </c:pt>
                <c:pt idx="139">
                  <c:v>45482</c:v>
                </c:pt>
                <c:pt idx="140">
                  <c:v>45481</c:v>
                </c:pt>
                <c:pt idx="141">
                  <c:v>45478</c:v>
                </c:pt>
                <c:pt idx="142">
                  <c:v>45477</c:v>
                </c:pt>
                <c:pt idx="143">
                  <c:v>45476</c:v>
                </c:pt>
                <c:pt idx="144">
                  <c:v>45475</c:v>
                </c:pt>
                <c:pt idx="145">
                  <c:v>45474</c:v>
                </c:pt>
                <c:pt idx="146">
                  <c:v>45471</c:v>
                </c:pt>
                <c:pt idx="147">
                  <c:v>45470</c:v>
                </c:pt>
                <c:pt idx="148">
                  <c:v>45469</c:v>
                </c:pt>
                <c:pt idx="149">
                  <c:v>45468</c:v>
                </c:pt>
                <c:pt idx="150">
                  <c:v>45467</c:v>
                </c:pt>
                <c:pt idx="151">
                  <c:v>45464</c:v>
                </c:pt>
                <c:pt idx="152">
                  <c:v>45463</c:v>
                </c:pt>
                <c:pt idx="153">
                  <c:v>45462</c:v>
                </c:pt>
                <c:pt idx="154">
                  <c:v>45461</c:v>
                </c:pt>
                <c:pt idx="155">
                  <c:v>45460</c:v>
                </c:pt>
                <c:pt idx="156">
                  <c:v>45457</c:v>
                </c:pt>
                <c:pt idx="157">
                  <c:v>45456</c:v>
                </c:pt>
                <c:pt idx="158">
                  <c:v>45455</c:v>
                </c:pt>
                <c:pt idx="159">
                  <c:v>45454</c:v>
                </c:pt>
                <c:pt idx="160">
                  <c:v>45453</c:v>
                </c:pt>
                <c:pt idx="161">
                  <c:v>45450</c:v>
                </c:pt>
                <c:pt idx="162">
                  <c:v>45449</c:v>
                </c:pt>
                <c:pt idx="163">
                  <c:v>45448</c:v>
                </c:pt>
                <c:pt idx="164">
                  <c:v>45447</c:v>
                </c:pt>
                <c:pt idx="165">
                  <c:v>45446</c:v>
                </c:pt>
                <c:pt idx="166">
                  <c:v>45443</c:v>
                </c:pt>
                <c:pt idx="167">
                  <c:v>45442</c:v>
                </c:pt>
                <c:pt idx="168">
                  <c:v>45441</c:v>
                </c:pt>
                <c:pt idx="169">
                  <c:v>45440</c:v>
                </c:pt>
                <c:pt idx="170">
                  <c:v>45439</c:v>
                </c:pt>
                <c:pt idx="171">
                  <c:v>45436</c:v>
                </c:pt>
                <c:pt idx="172">
                  <c:v>45435</c:v>
                </c:pt>
                <c:pt idx="173">
                  <c:v>45434</c:v>
                </c:pt>
                <c:pt idx="174">
                  <c:v>45433</c:v>
                </c:pt>
                <c:pt idx="175">
                  <c:v>45432</c:v>
                </c:pt>
                <c:pt idx="176">
                  <c:v>45429</c:v>
                </c:pt>
                <c:pt idx="177">
                  <c:v>45428</c:v>
                </c:pt>
                <c:pt idx="178">
                  <c:v>45427</c:v>
                </c:pt>
                <c:pt idx="179">
                  <c:v>45426</c:v>
                </c:pt>
                <c:pt idx="180">
                  <c:v>45425</c:v>
                </c:pt>
                <c:pt idx="181">
                  <c:v>45422</c:v>
                </c:pt>
                <c:pt idx="182">
                  <c:v>45421</c:v>
                </c:pt>
              </c:numCache>
            </c:numRef>
          </c:cat>
          <c:val>
            <c:numRef>
              <c:f>BRENT!$B$10:$B$211</c:f>
              <c:numCache>
                <c:formatCode>General</c:formatCode>
                <c:ptCount val="202"/>
                <c:pt idx="0">
                  <c:v>80.680000000000007</c:v>
                </c:pt>
                <c:pt idx="1">
                  <c:v>81.38</c:v>
                </c:pt>
                <c:pt idx="2">
                  <c:v>81.290000000000006</c:v>
                </c:pt>
                <c:pt idx="3">
                  <c:v>82.03</c:v>
                </c:pt>
                <c:pt idx="4">
                  <c:v>79.92</c:v>
                </c:pt>
                <c:pt idx="5">
                  <c:v>81.150000000000006</c:v>
                </c:pt>
                <c:pt idx="6">
                  <c:v>79.760000000000005</c:v>
                </c:pt>
                <c:pt idx="7">
                  <c:v>76.92</c:v>
                </c:pt>
                <c:pt idx="8">
                  <c:v>76.16</c:v>
                </c:pt>
                <c:pt idx="9">
                  <c:v>77.05</c:v>
                </c:pt>
                <c:pt idx="10">
                  <c:v>76.3</c:v>
                </c:pt>
                <c:pt idx="11">
                  <c:v>76.08</c:v>
                </c:pt>
                <c:pt idx="12">
                  <c:v>75.930000000000007</c:v>
                </c:pt>
                <c:pt idx="13">
                  <c:v>74.64</c:v>
                </c:pt>
                <c:pt idx="14">
                  <c:v>74.17</c:v>
                </c:pt>
                <c:pt idx="15">
                  <c:v>74.17</c:v>
                </c:pt>
                <c:pt idx="16">
                  <c:v>74.17</c:v>
                </c:pt>
                <c:pt idx="17">
                  <c:v>73.260000000000005</c:v>
                </c:pt>
                <c:pt idx="18">
                  <c:v>73.58</c:v>
                </c:pt>
                <c:pt idx="19">
                  <c:v>73.58</c:v>
                </c:pt>
                <c:pt idx="20">
                  <c:v>73.31</c:v>
                </c:pt>
                <c:pt idx="21">
                  <c:v>72.94</c:v>
                </c:pt>
                <c:pt idx="22">
                  <c:v>72.88</c:v>
                </c:pt>
                <c:pt idx="23">
                  <c:v>73.39</c:v>
                </c:pt>
                <c:pt idx="24">
                  <c:v>73.19</c:v>
                </c:pt>
                <c:pt idx="25">
                  <c:v>74.239999999999995</c:v>
                </c:pt>
                <c:pt idx="26">
                  <c:v>74.489999999999995</c:v>
                </c:pt>
                <c:pt idx="27">
                  <c:v>73.41</c:v>
                </c:pt>
                <c:pt idx="28">
                  <c:v>73.52</c:v>
                </c:pt>
                <c:pt idx="29">
                  <c:v>71.87</c:v>
                </c:pt>
                <c:pt idx="30">
                  <c:v>72.14</c:v>
                </c:pt>
                <c:pt idx="31">
                  <c:v>71.12</c:v>
                </c:pt>
                <c:pt idx="32">
                  <c:v>72.09</c:v>
                </c:pt>
                <c:pt idx="33">
                  <c:v>72.31</c:v>
                </c:pt>
                <c:pt idx="34">
                  <c:v>73.62</c:v>
                </c:pt>
                <c:pt idx="35">
                  <c:v>72.239999999999995</c:v>
                </c:pt>
                <c:pt idx="36">
                  <c:v>73.260000000000005</c:v>
                </c:pt>
                <c:pt idx="37">
                  <c:v>73.28</c:v>
                </c:pt>
                <c:pt idx="38">
                  <c:v>72.83</c:v>
                </c:pt>
                <c:pt idx="39">
                  <c:v>72.81</c:v>
                </c:pt>
                <c:pt idx="40">
                  <c:v>73.010000000000005</c:v>
                </c:pt>
                <c:pt idx="41">
                  <c:v>74.25</c:v>
                </c:pt>
                <c:pt idx="42">
                  <c:v>74.23</c:v>
                </c:pt>
                <c:pt idx="43">
                  <c:v>72.81</c:v>
                </c:pt>
                <c:pt idx="44">
                  <c:v>73.31</c:v>
                </c:pt>
                <c:pt idx="45">
                  <c:v>71.31</c:v>
                </c:pt>
                <c:pt idx="46">
                  <c:v>71.040000000000006</c:v>
                </c:pt>
                <c:pt idx="47">
                  <c:v>72.56</c:v>
                </c:pt>
                <c:pt idx="48">
                  <c:v>72.28</c:v>
                </c:pt>
                <c:pt idx="49">
                  <c:v>71.89</c:v>
                </c:pt>
                <c:pt idx="50">
                  <c:v>71.83</c:v>
                </c:pt>
                <c:pt idx="51">
                  <c:v>73.87</c:v>
                </c:pt>
                <c:pt idx="52">
                  <c:v>75.63</c:v>
                </c:pt>
                <c:pt idx="53">
                  <c:v>74.92</c:v>
                </c:pt>
                <c:pt idx="54">
                  <c:v>75.53</c:v>
                </c:pt>
                <c:pt idx="55">
                  <c:v>74.34</c:v>
                </c:pt>
                <c:pt idx="56">
                  <c:v>73.099999999999994</c:v>
                </c:pt>
                <c:pt idx="57">
                  <c:v>73.16</c:v>
                </c:pt>
                <c:pt idx="58">
                  <c:v>72.55</c:v>
                </c:pt>
                <c:pt idx="59">
                  <c:v>71.12</c:v>
                </c:pt>
                <c:pt idx="60">
                  <c:v>71.42</c:v>
                </c:pt>
                <c:pt idx="61">
                  <c:v>76.05</c:v>
                </c:pt>
                <c:pt idx="62">
                  <c:v>74.38</c:v>
                </c:pt>
                <c:pt idx="63">
                  <c:v>74.959999999999994</c:v>
                </c:pt>
                <c:pt idx="64">
                  <c:v>76.040000000000006</c:v>
                </c:pt>
                <c:pt idx="65">
                  <c:v>74.290000000000006</c:v>
                </c:pt>
                <c:pt idx="66">
                  <c:v>73</c:v>
                </c:pt>
                <c:pt idx="67">
                  <c:v>74.45</c:v>
                </c:pt>
                <c:pt idx="68">
                  <c:v>74.2</c:v>
                </c:pt>
                <c:pt idx="69">
                  <c:v>74.25</c:v>
                </c:pt>
                <c:pt idx="70">
                  <c:v>77.459999999999994</c:v>
                </c:pt>
                <c:pt idx="71">
                  <c:v>79.040000000000006</c:v>
                </c:pt>
                <c:pt idx="72">
                  <c:v>79.400000000000006</c:v>
                </c:pt>
                <c:pt idx="73">
                  <c:v>76.58</c:v>
                </c:pt>
                <c:pt idx="74">
                  <c:v>77.180000000000007</c:v>
                </c:pt>
                <c:pt idx="75">
                  <c:v>80.930000000000007</c:v>
                </c:pt>
                <c:pt idx="76">
                  <c:v>78</c:v>
                </c:pt>
                <c:pt idx="77">
                  <c:v>77.599999999999994</c:v>
                </c:pt>
                <c:pt idx="78">
                  <c:v>73.900000000000006</c:v>
                </c:pt>
                <c:pt idx="79">
                  <c:v>73.56</c:v>
                </c:pt>
                <c:pt idx="80" formatCode="0.0">
                  <c:v>71.77</c:v>
                </c:pt>
                <c:pt idx="81" formatCode="0.0">
                  <c:v>71.98</c:v>
                </c:pt>
                <c:pt idx="82" formatCode="0.0">
                  <c:v>71.599999999999994</c:v>
                </c:pt>
                <c:pt idx="83" formatCode="0.0">
                  <c:v>73.459999999999994</c:v>
                </c:pt>
                <c:pt idx="84" formatCode="0.0">
                  <c:v>75.2</c:v>
                </c:pt>
                <c:pt idx="85" formatCode="0.0">
                  <c:v>73.900000000000006</c:v>
                </c:pt>
                <c:pt idx="86">
                  <c:v>74.489999999999995</c:v>
                </c:pt>
                <c:pt idx="87">
                  <c:v>74.88</c:v>
                </c:pt>
                <c:pt idx="88">
                  <c:v>73.650000000000006</c:v>
                </c:pt>
                <c:pt idx="89">
                  <c:v>73.7</c:v>
                </c:pt>
                <c:pt idx="90" formatCode="0.0">
                  <c:v>72.75</c:v>
                </c:pt>
                <c:pt idx="91" formatCode="0.0">
                  <c:v>71.61</c:v>
                </c:pt>
                <c:pt idx="92" formatCode="0.0">
                  <c:v>71.97</c:v>
                </c:pt>
                <c:pt idx="93" formatCode="0.0">
                  <c:v>70.599999999999994</c:v>
                </c:pt>
                <c:pt idx="94" formatCode="0.0">
                  <c:v>69.19</c:v>
                </c:pt>
                <c:pt idx="95" formatCode="0.0">
                  <c:v>71.900000000000006</c:v>
                </c:pt>
                <c:pt idx="96" formatCode="0.0">
                  <c:v>71.06</c:v>
                </c:pt>
                <c:pt idx="97" formatCode="0.0">
                  <c:v>72.69</c:v>
                </c:pt>
                <c:pt idx="98" formatCode="0.0">
                  <c:v>72.7</c:v>
                </c:pt>
                <c:pt idx="99" formatCode="0.0">
                  <c:v>73.75</c:v>
                </c:pt>
                <c:pt idx="100" formatCode="0.0">
                  <c:v>77.52</c:v>
                </c:pt>
                <c:pt idx="101" formatCode="0.0">
                  <c:v>78.8</c:v>
                </c:pt>
                <c:pt idx="102" formatCode="0.0">
                  <c:v>79.94</c:v>
                </c:pt>
                <c:pt idx="103" formatCode="0.0">
                  <c:v>78.650000000000006</c:v>
                </c:pt>
                <c:pt idx="104" formatCode="0.0">
                  <c:v>79.55</c:v>
                </c:pt>
                <c:pt idx="105" formatCode="0.0">
                  <c:v>81.430000000000007</c:v>
                </c:pt>
                <c:pt idx="106" formatCode="0.0">
                  <c:v>79.02</c:v>
                </c:pt>
                <c:pt idx="107" formatCode="0.0">
                  <c:v>77.22</c:v>
                </c:pt>
                <c:pt idx="108" formatCode="0.0">
                  <c:v>76.05</c:v>
                </c:pt>
                <c:pt idx="109" formatCode="0.0">
                  <c:v>77.2</c:v>
                </c:pt>
                <c:pt idx="110" formatCode="0.0">
                  <c:v>77.66</c:v>
                </c:pt>
                <c:pt idx="111">
                  <c:v>79.680000000000007</c:v>
                </c:pt>
                <c:pt idx="112">
                  <c:v>81.040000000000006</c:v>
                </c:pt>
                <c:pt idx="113">
                  <c:v>79.760000000000005</c:v>
                </c:pt>
                <c:pt idx="114">
                  <c:v>80.69</c:v>
                </c:pt>
                <c:pt idx="115">
                  <c:v>82.3</c:v>
                </c:pt>
                <c:pt idx="116">
                  <c:v>79.66</c:v>
                </c:pt>
                <c:pt idx="117">
                  <c:v>79.16</c:v>
                </c:pt>
                <c:pt idx="118">
                  <c:v>78.33</c:v>
                </c:pt>
                <c:pt idx="119">
                  <c:v>76.48</c:v>
                </c:pt>
                <c:pt idx="120">
                  <c:v>76.3</c:v>
                </c:pt>
                <c:pt idx="121">
                  <c:v>76.8</c:v>
                </c:pt>
                <c:pt idx="122">
                  <c:v>79.52</c:v>
                </c:pt>
                <c:pt idx="123">
                  <c:v>80.72</c:v>
                </c:pt>
                <c:pt idx="124">
                  <c:v>78.63</c:v>
                </c:pt>
                <c:pt idx="125">
                  <c:v>79.78</c:v>
                </c:pt>
                <c:pt idx="126">
                  <c:v>81.13</c:v>
                </c:pt>
                <c:pt idx="127">
                  <c:v>82.37</c:v>
                </c:pt>
                <c:pt idx="128">
                  <c:v>81.709999999999994</c:v>
                </c:pt>
                <c:pt idx="129">
                  <c:v>81</c:v>
                </c:pt>
                <c:pt idx="130">
                  <c:v>82.4</c:v>
                </c:pt>
                <c:pt idx="131">
                  <c:v>82.63</c:v>
                </c:pt>
                <c:pt idx="132">
                  <c:v>85.11</c:v>
                </c:pt>
                <c:pt idx="133">
                  <c:v>85.08</c:v>
                </c:pt>
                <c:pt idx="134">
                  <c:v>83.73</c:v>
                </c:pt>
                <c:pt idx="135">
                  <c:v>84.85</c:v>
                </c:pt>
                <c:pt idx="136">
                  <c:v>85</c:v>
                </c:pt>
                <c:pt idx="137">
                  <c:v>85.4</c:v>
                </c:pt>
                <c:pt idx="138">
                  <c:v>85.08</c:v>
                </c:pt>
                <c:pt idx="139">
                  <c:v>84.66</c:v>
                </c:pt>
                <c:pt idx="140">
                  <c:v>85.75</c:v>
                </c:pt>
                <c:pt idx="141">
                  <c:v>86.54</c:v>
                </c:pt>
                <c:pt idx="142">
                  <c:v>87.43</c:v>
                </c:pt>
                <c:pt idx="143">
                  <c:v>87.34</c:v>
                </c:pt>
                <c:pt idx="144">
                  <c:v>86.24</c:v>
                </c:pt>
                <c:pt idx="145">
                  <c:v>86.6</c:v>
                </c:pt>
                <c:pt idx="146">
                  <c:v>86.41</c:v>
                </c:pt>
                <c:pt idx="147">
                  <c:v>86.39</c:v>
                </c:pt>
                <c:pt idx="148">
                  <c:v>85.25</c:v>
                </c:pt>
                <c:pt idx="149">
                  <c:v>85.01</c:v>
                </c:pt>
                <c:pt idx="150">
                  <c:v>86.01</c:v>
                </c:pt>
                <c:pt idx="151">
                  <c:v>85.24</c:v>
                </c:pt>
                <c:pt idx="152">
                  <c:v>85.71</c:v>
                </c:pt>
                <c:pt idx="153">
                  <c:v>85.07</c:v>
                </c:pt>
                <c:pt idx="154">
                  <c:v>85.33</c:v>
                </c:pt>
                <c:pt idx="155">
                  <c:v>84.25</c:v>
                </c:pt>
                <c:pt idx="156">
                  <c:v>82.62</c:v>
                </c:pt>
                <c:pt idx="157">
                  <c:v>82.75</c:v>
                </c:pt>
                <c:pt idx="158">
                  <c:v>82.6</c:v>
                </c:pt>
                <c:pt idx="159">
                  <c:v>81.92</c:v>
                </c:pt>
                <c:pt idx="160">
                  <c:v>81.63</c:v>
                </c:pt>
                <c:pt idx="161" formatCode="0.0">
                  <c:v>79.62</c:v>
                </c:pt>
                <c:pt idx="162" formatCode="0.0">
                  <c:v>79.87</c:v>
                </c:pt>
                <c:pt idx="163" formatCode="0.0">
                  <c:v>78.41</c:v>
                </c:pt>
                <c:pt idx="164" formatCode="0.0">
                  <c:v>77.52</c:v>
                </c:pt>
                <c:pt idx="165" formatCode="0.0">
                  <c:v>78.36</c:v>
                </c:pt>
                <c:pt idx="166" formatCode="0.0">
                  <c:v>81.62</c:v>
                </c:pt>
                <c:pt idx="167" formatCode="0.0">
                  <c:v>81.86</c:v>
                </c:pt>
                <c:pt idx="168" formatCode="0.0">
                  <c:v>83.6</c:v>
                </c:pt>
                <c:pt idx="169" formatCode="0.0">
                  <c:v>84.22</c:v>
                </c:pt>
                <c:pt idx="170" formatCode="0.0">
                  <c:v>83.1</c:v>
                </c:pt>
                <c:pt idx="171" formatCode="0.0">
                  <c:v>82.12</c:v>
                </c:pt>
                <c:pt idx="172" formatCode="0.0">
                  <c:v>81.36</c:v>
                </c:pt>
                <c:pt idx="173" formatCode="0.0">
                  <c:v>81.900000000000006</c:v>
                </c:pt>
                <c:pt idx="174" formatCode="0.0">
                  <c:v>82.88</c:v>
                </c:pt>
                <c:pt idx="175" formatCode="0.0">
                  <c:v>83.71</c:v>
                </c:pt>
                <c:pt idx="176" formatCode="0.0">
                  <c:v>83.98</c:v>
                </c:pt>
                <c:pt idx="177" formatCode="0.0">
                  <c:v>83.27</c:v>
                </c:pt>
                <c:pt idx="178" formatCode="0.0">
                  <c:v>82.75</c:v>
                </c:pt>
                <c:pt idx="179" formatCode="0.0">
                  <c:v>82.38</c:v>
                </c:pt>
                <c:pt idx="180" formatCode="0.0">
                  <c:v>83.36</c:v>
                </c:pt>
                <c:pt idx="181" formatCode="0.0">
                  <c:v>82.79</c:v>
                </c:pt>
                <c:pt idx="182" formatCode="0.0">
                  <c:v>83.88</c:v>
                </c:pt>
                <c:pt idx="183" formatCode="0.0">
                  <c:v>83.58</c:v>
                </c:pt>
                <c:pt idx="184" formatCode="0.0">
                  <c:v>83.16</c:v>
                </c:pt>
                <c:pt idx="185" formatCode="0.0">
                  <c:v>83.33</c:v>
                </c:pt>
                <c:pt idx="186" formatCode="0.0">
                  <c:v>82.96</c:v>
                </c:pt>
                <c:pt idx="187" formatCode="0.0">
                  <c:v>83.67</c:v>
                </c:pt>
                <c:pt idx="188" formatCode="0.0">
                  <c:v>83.44</c:v>
                </c:pt>
                <c:pt idx="189" formatCode="0.0">
                  <c:v>87.86</c:v>
                </c:pt>
                <c:pt idx="190" formatCode="0.0">
                  <c:v>88.4</c:v>
                </c:pt>
                <c:pt idx="191" formatCode="0.0">
                  <c:v>89.5</c:v>
                </c:pt>
                <c:pt idx="192" formatCode="0.0">
                  <c:v>89.01</c:v>
                </c:pt>
                <c:pt idx="193" formatCode="0.0">
                  <c:v>88.02</c:v>
                </c:pt>
                <c:pt idx="194" formatCode="0.0">
                  <c:v>88.42</c:v>
                </c:pt>
                <c:pt idx="195" formatCode="0.0">
                  <c:v>87</c:v>
                </c:pt>
                <c:pt idx="196" formatCode="0.0">
                  <c:v>87.29</c:v>
                </c:pt>
                <c:pt idx="197" formatCode="0.0">
                  <c:v>87.11</c:v>
                </c:pt>
                <c:pt idx="198" formatCode="0.0">
                  <c:v>87.29</c:v>
                </c:pt>
                <c:pt idx="199" formatCode="0.0">
                  <c:v>90.02</c:v>
                </c:pt>
                <c:pt idx="200" formatCode="0.0">
                  <c:v>90.1</c:v>
                </c:pt>
                <c:pt idx="201" formatCode="0.0">
                  <c:v>9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14-4764-A18D-752159B906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06355568"/>
        <c:axId val="2106354736"/>
      </c:areaChart>
      <c:dateAx>
        <c:axId val="210635556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2106354736"/>
        <c:crosses val="autoZero"/>
        <c:auto val="1"/>
        <c:lblOffset val="100"/>
        <c:baseTimeUnit val="days"/>
        <c:majorUnit val="9"/>
        <c:majorTimeUnit val="days"/>
      </c:dateAx>
      <c:valAx>
        <c:axId val="2106354736"/>
        <c:scaling>
          <c:orientation val="minMax"/>
          <c:min val="6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21063555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Corbel" panose="020B0503020204020204" pitchFamily="34" charset="0"/>
        </a:defRPr>
      </a:pPr>
      <a:endParaRPr lang="ru-RU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20" baseline="0">
                <a:solidFill>
                  <a:schemeClr val="dk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100" b="1" dirty="0">
                <a:solidFill>
                  <a:schemeClr val="accent5">
                    <a:lumMod val="75000"/>
                  </a:schemeClr>
                </a:solidFill>
              </a:rPr>
              <a:t>Динамика цен на газ </a:t>
            </a:r>
            <a:r>
              <a:rPr lang="en-US" sz="1100" b="1" dirty="0">
                <a:solidFill>
                  <a:schemeClr val="accent5">
                    <a:lumMod val="75000"/>
                  </a:schemeClr>
                </a:solidFill>
              </a:rPr>
              <a:t>TTF</a:t>
            </a:r>
            <a:r>
              <a:rPr lang="uz-Cyrl-UZ" sz="1100" b="1" dirty="0">
                <a:solidFill>
                  <a:schemeClr val="accent5">
                    <a:lumMod val="75000"/>
                  </a:schemeClr>
                </a:solidFill>
              </a:rPr>
              <a:t>,</a:t>
            </a:r>
            <a:r>
              <a:rPr lang="uz-Cyrl-UZ" sz="1100" b="1" baseline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br>
              <a:rPr lang="uz-Cyrl-UZ" sz="1100" b="1" baseline="0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uz-Cyrl-UZ" sz="1100" b="1" baseline="0" dirty="0">
                <a:solidFill>
                  <a:schemeClr val="accent5">
                    <a:lumMod val="75000"/>
                  </a:schemeClr>
                </a:solidFill>
              </a:rPr>
              <a:t>(за мегаватт-час в долл.)</a:t>
            </a:r>
            <a:endParaRPr lang="ru-RU" sz="1100" b="1" dirty="0">
              <a:solidFill>
                <a:schemeClr val="accent5">
                  <a:lumMod val="75000"/>
                </a:schemeClr>
              </a:solidFill>
            </a:endParaRPr>
          </a:p>
        </c:rich>
      </c:tx>
      <c:layout>
        <c:manualLayout>
          <c:xMode val="edge"/>
          <c:yMode val="edge"/>
          <c:x val="0.19383966244725734"/>
          <c:y val="3.80234967245901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20" baseline="0">
              <a:solidFill>
                <a:schemeClr val="dk1">
                  <a:lumMod val="50000"/>
                  <a:lumOff val="50000"/>
                </a:schemeClr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1360410644871922"/>
          <c:y val="0.26430592559743094"/>
          <c:w val="0.85193921968328012"/>
          <c:h val="0.35574770952329665"/>
        </c:manualLayout>
      </c:layout>
      <c:lineChart>
        <c:grouping val="standard"/>
        <c:varyColors val="0"/>
        <c:ser>
          <c:idx val="0"/>
          <c:order val="0"/>
          <c:spPr>
            <a:ln w="22225" cap="rnd" cmpd="sng" algn="ctr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GAS TTF'!$B$9:$B$205</c:f>
              <c:numCache>
                <c:formatCode>m/d/yyyy</c:formatCode>
                <c:ptCount val="197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7</c:v>
                </c:pt>
                <c:pt idx="6">
                  <c:v>45666</c:v>
                </c:pt>
                <c:pt idx="7">
                  <c:v>45665</c:v>
                </c:pt>
                <c:pt idx="8">
                  <c:v>45664</c:v>
                </c:pt>
                <c:pt idx="9">
                  <c:v>45663</c:v>
                </c:pt>
                <c:pt idx="10">
                  <c:v>45660</c:v>
                </c:pt>
                <c:pt idx="11">
                  <c:v>45659</c:v>
                </c:pt>
                <c:pt idx="12">
                  <c:v>45658</c:v>
                </c:pt>
                <c:pt idx="13">
                  <c:v>45657</c:v>
                </c:pt>
                <c:pt idx="14">
                  <c:v>45656</c:v>
                </c:pt>
                <c:pt idx="15">
                  <c:v>45653</c:v>
                </c:pt>
                <c:pt idx="16">
                  <c:v>45652</c:v>
                </c:pt>
                <c:pt idx="17">
                  <c:v>45651</c:v>
                </c:pt>
                <c:pt idx="18">
                  <c:v>45650</c:v>
                </c:pt>
                <c:pt idx="19">
                  <c:v>45649</c:v>
                </c:pt>
                <c:pt idx="20">
                  <c:v>45646</c:v>
                </c:pt>
                <c:pt idx="21">
                  <c:v>45645</c:v>
                </c:pt>
                <c:pt idx="22">
                  <c:v>45644</c:v>
                </c:pt>
                <c:pt idx="23">
                  <c:v>45643</c:v>
                </c:pt>
                <c:pt idx="24">
                  <c:v>45642</c:v>
                </c:pt>
                <c:pt idx="25">
                  <c:v>45639</c:v>
                </c:pt>
                <c:pt idx="26">
                  <c:v>45638</c:v>
                </c:pt>
                <c:pt idx="27">
                  <c:v>45637</c:v>
                </c:pt>
                <c:pt idx="28">
                  <c:v>45636</c:v>
                </c:pt>
                <c:pt idx="29">
                  <c:v>45635</c:v>
                </c:pt>
                <c:pt idx="30">
                  <c:v>45632</c:v>
                </c:pt>
                <c:pt idx="31">
                  <c:v>45631</c:v>
                </c:pt>
                <c:pt idx="32">
                  <c:v>45630</c:v>
                </c:pt>
                <c:pt idx="33">
                  <c:v>45629</c:v>
                </c:pt>
                <c:pt idx="34">
                  <c:v>45628</c:v>
                </c:pt>
                <c:pt idx="35">
                  <c:v>45625</c:v>
                </c:pt>
                <c:pt idx="36">
                  <c:v>45624</c:v>
                </c:pt>
                <c:pt idx="37">
                  <c:v>45623</c:v>
                </c:pt>
                <c:pt idx="38">
                  <c:v>45622</c:v>
                </c:pt>
                <c:pt idx="39">
                  <c:v>45621</c:v>
                </c:pt>
                <c:pt idx="40">
                  <c:v>45618</c:v>
                </c:pt>
                <c:pt idx="41">
                  <c:v>45617</c:v>
                </c:pt>
                <c:pt idx="42">
                  <c:v>45616</c:v>
                </c:pt>
                <c:pt idx="43">
                  <c:v>45615</c:v>
                </c:pt>
                <c:pt idx="44">
                  <c:v>45614</c:v>
                </c:pt>
                <c:pt idx="45">
                  <c:v>45611</c:v>
                </c:pt>
                <c:pt idx="46">
                  <c:v>45610</c:v>
                </c:pt>
                <c:pt idx="47">
                  <c:v>45609</c:v>
                </c:pt>
                <c:pt idx="48">
                  <c:v>45608</c:v>
                </c:pt>
                <c:pt idx="49">
                  <c:v>45607</c:v>
                </c:pt>
                <c:pt idx="50">
                  <c:v>45604</c:v>
                </c:pt>
                <c:pt idx="51">
                  <c:v>45603</c:v>
                </c:pt>
                <c:pt idx="52">
                  <c:v>45602</c:v>
                </c:pt>
                <c:pt idx="53">
                  <c:v>45601</c:v>
                </c:pt>
                <c:pt idx="54">
                  <c:v>45600</c:v>
                </c:pt>
                <c:pt idx="55">
                  <c:v>45597</c:v>
                </c:pt>
                <c:pt idx="56">
                  <c:v>45596</c:v>
                </c:pt>
                <c:pt idx="57">
                  <c:v>45595</c:v>
                </c:pt>
                <c:pt idx="58">
                  <c:v>45594</c:v>
                </c:pt>
                <c:pt idx="59">
                  <c:v>45593</c:v>
                </c:pt>
                <c:pt idx="60">
                  <c:v>45590</c:v>
                </c:pt>
                <c:pt idx="61">
                  <c:v>45589</c:v>
                </c:pt>
                <c:pt idx="62">
                  <c:v>45588</c:v>
                </c:pt>
                <c:pt idx="63">
                  <c:v>45587</c:v>
                </c:pt>
                <c:pt idx="64">
                  <c:v>45586</c:v>
                </c:pt>
                <c:pt idx="65">
                  <c:v>45583</c:v>
                </c:pt>
                <c:pt idx="66">
                  <c:v>45582</c:v>
                </c:pt>
                <c:pt idx="67">
                  <c:v>45581</c:v>
                </c:pt>
                <c:pt idx="68">
                  <c:v>45580</c:v>
                </c:pt>
                <c:pt idx="69">
                  <c:v>45579</c:v>
                </c:pt>
                <c:pt idx="70">
                  <c:v>45576</c:v>
                </c:pt>
                <c:pt idx="71">
                  <c:v>45575</c:v>
                </c:pt>
                <c:pt idx="72">
                  <c:v>45574</c:v>
                </c:pt>
                <c:pt idx="73">
                  <c:v>45573</c:v>
                </c:pt>
                <c:pt idx="74">
                  <c:v>45572</c:v>
                </c:pt>
                <c:pt idx="75">
                  <c:v>45569</c:v>
                </c:pt>
                <c:pt idx="76">
                  <c:v>45568</c:v>
                </c:pt>
                <c:pt idx="77">
                  <c:v>45567</c:v>
                </c:pt>
                <c:pt idx="78">
                  <c:v>45566</c:v>
                </c:pt>
                <c:pt idx="79">
                  <c:v>45565</c:v>
                </c:pt>
                <c:pt idx="80">
                  <c:v>45562</c:v>
                </c:pt>
                <c:pt idx="81">
                  <c:v>45561</c:v>
                </c:pt>
                <c:pt idx="82">
                  <c:v>45560</c:v>
                </c:pt>
                <c:pt idx="83">
                  <c:v>45559</c:v>
                </c:pt>
                <c:pt idx="84">
                  <c:v>45558</c:v>
                </c:pt>
                <c:pt idx="85">
                  <c:v>45555</c:v>
                </c:pt>
                <c:pt idx="86">
                  <c:v>45554</c:v>
                </c:pt>
                <c:pt idx="87">
                  <c:v>45553</c:v>
                </c:pt>
                <c:pt idx="88">
                  <c:v>45552</c:v>
                </c:pt>
                <c:pt idx="89">
                  <c:v>45551</c:v>
                </c:pt>
                <c:pt idx="90">
                  <c:v>45548</c:v>
                </c:pt>
                <c:pt idx="91">
                  <c:v>45547</c:v>
                </c:pt>
                <c:pt idx="92">
                  <c:v>45546</c:v>
                </c:pt>
                <c:pt idx="93">
                  <c:v>45545</c:v>
                </c:pt>
                <c:pt idx="94">
                  <c:v>45544</c:v>
                </c:pt>
                <c:pt idx="95">
                  <c:v>45541</c:v>
                </c:pt>
                <c:pt idx="96">
                  <c:v>45540</c:v>
                </c:pt>
                <c:pt idx="97">
                  <c:v>45539</c:v>
                </c:pt>
                <c:pt idx="98">
                  <c:v>45538</c:v>
                </c:pt>
                <c:pt idx="99">
                  <c:v>45537</c:v>
                </c:pt>
                <c:pt idx="100">
                  <c:v>45534</c:v>
                </c:pt>
                <c:pt idx="101">
                  <c:v>45533</c:v>
                </c:pt>
                <c:pt idx="102">
                  <c:v>45532</c:v>
                </c:pt>
                <c:pt idx="103">
                  <c:v>45531</c:v>
                </c:pt>
                <c:pt idx="104">
                  <c:v>45530</c:v>
                </c:pt>
                <c:pt idx="105">
                  <c:v>45527</c:v>
                </c:pt>
                <c:pt idx="106">
                  <c:v>45526</c:v>
                </c:pt>
                <c:pt idx="107">
                  <c:v>45525</c:v>
                </c:pt>
                <c:pt idx="108">
                  <c:v>45524</c:v>
                </c:pt>
                <c:pt idx="109">
                  <c:v>45523</c:v>
                </c:pt>
                <c:pt idx="110">
                  <c:v>45520</c:v>
                </c:pt>
                <c:pt idx="111">
                  <c:v>45519</c:v>
                </c:pt>
                <c:pt idx="112">
                  <c:v>45518</c:v>
                </c:pt>
                <c:pt idx="113">
                  <c:v>45517</c:v>
                </c:pt>
                <c:pt idx="114">
                  <c:v>45516</c:v>
                </c:pt>
                <c:pt idx="115">
                  <c:v>45513</c:v>
                </c:pt>
                <c:pt idx="116">
                  <c:v>45512</c:v>
                </c:pt>
                <c:pt idx="117">
                  <c:v>45511</c:v>
                </c:pt>
                <c:pt idx="118">
                  <c:v>45510</c:v>
                </c:pt>
                <c:pt idx="119">
                  <c:v>45509</c:v>
                </c:pt>
                <c:pt idx="120">
                  <c:v>45506</c:v>
                </c:pt>
                <c:pt idx="121">
                  <c:v>45505</c:v>
                </c:pt>
                <c:pt idx="122">
                  <c:v>45504</c:v>
                </c:pt>
                <c:pt idx="123">
                  <c:v>45503</c:v>
                </c:pt>
                <c:pt idx="124">
                  <c:v>45502</c:v>
                </c:pt>
                <c:pt idx="125">
                  <c:v>45499</c:v>
                </c:pt>
                <c:pt idx="126">
                  <c:v>45498</c:v>
                </c:pt>
                <c:pt idx="127">
                  <c:v>45497</c:v>
                </c:pt>
                <c:pt idx="128">
                  <c:v>45496</c:v>
                </c:pt>
                <c:pt idx="129">
                  <c:v>45495</c:v>
                </c:pt>
                <c:pt idx="130">
                  <c:v>45492</c:v>
                </c:pt>
                <c:pt idx="131">
                  <c:v>45491</c:v>
                </c:pt>
                <c:pt idx="132">
                  <c:v>45490</c:v>
                </c:pt>
                <c:pt idx="133">
                  <c:v>45489</c:v>
                </c:pt>
                <c:pt idx="134">
                  <c:v>45488</c:v>
                </c:pt>
                <c:pt idx="135">
                  <c:v>45485</c:v>
                </c:pt>
                <c:pt idx="136">
                  <c:v>45484</c:v>
                </c:pt>
                <c:pt idx="137">
                  <c:v>45483</c:v>
                </c:pt>
                <c:pt idx="138">
                  <c:v>45482</c:v>
                </c:pt>
                <c:pt idx="139">
                  <c:v>45481</c:v>
                </c:pt>
                <c:pt idx="140">
                  <c:v>45478</c:v>
                </c:pt>
                <c:pt idx="141">
                  <c:v>45477</c:v>
                </c:pt>
                <c:pt idx="142">
                  <c:v>45476</c:v>
                </c:pt>
                <c:pt idx="143">
                  <c:v>45475</c:v>
                </c:pt>
                <c:pt idx="144">
                  <c:v>45474</c:v>
                </c:pt>
                <c:pt idx="145">
                  <c:v>45471</c:v>
                </c:pt>
                <c:pt idx="146">
                  <c:v>45470</c:v>
                </c:pt>
                <c:pt idx="147">
                  <c:v>45469</c:v>
                </c:pt>
                <c:pt idx="148">
                  <c:v>45468</c:v>
                </c:pt>
                <c:pt idx="149">
                  <c:v>45467</c:v>
                </c:pt>
                <c:pt idx="150">
                  <c:v>45464</c:v>
                </c:pt>
                <c:pt idx="151">
                  <c:v>45463</c:v>
                </c:pt>
                <c:pt idx="152">
                  <c:v>45462</c:v>
                </c:pt>
                <c:pt idx="153">
                  <c:v>45461</c:v>
                </c:pt>
                <c:pt idx="154">
                  <c:v>45460</c:v>
                </c:pt>
                <c:pt idx="155">
                  <c:v>45457</c:v>
                </c:pt>
                <c:pt idx="156">
                  <c:v>45456</c:v>
                </c:pt>
                <c:pt idx="157">
                  <c:v>45455</c:v>
                </c:pt>
                <c:pt idx="158">
                  <c:v>45454</c:v>
                </c:pt>
                <c:pt idx="159">
                  <c:v>45453</c:v>
                </c:pt>
                <c:pt idx="160">
                  <c:v>45450</c:v>
                </c:pt>
                <c:pt idx="161">
                  <c:v>45449</c:v>
                </c:pt>
                <c:pt idx="162">
                  <c:v>45448</c:v>
                </c:pt>
                <c:pt idx="163">
                  <c:v>45447</c:v>
                </c:pt>
                <c:pt idx="164">
                  <c:v>45446</c:v>
                </c:pt>
                <c:pt idx="165">
                  <c:v>45443</c:v>
                </c:pt>
                <c:pt idx="166">
                  <c:v>45442</c:v>
                </c:pt>
                <c:pt idx="167">
                  <c:v>45441</c:v>
                </c:pt>
                <c:pt idx="168">
                  <c:v>45440</c:v>
                </c:pt>
                <c:pt idx="169">
                  <c:v>45439</c:v>
                </c:pt>
                <c:pt idx="170">
                  <c:v>45436</c:v>
                </c:pt>
                <c:pt idx="171">
                  <c:v>45435</c:v>
                </c:pt>
                <c:pt idx="172">
                  <c:v>45434</c:v>
                </c:pt>
                <c:pt idx="173">
                  <c:v>45433</c:v>
                </c:pt>
                <c:pt idx="174">
                  <c:v>45432</c:v>
                </c:pt>
                <c:pt idx="175">
                  <c:v>45429</c:v>
                </c:pt>
                <c:pt idx="176">
                  <c:v>45428</c:v>
                </c:pt>
                <c:pt idx="177">
                  <c:v>45427</c:v>
                </c:pt>
                <c:pt idx="178">
                  <c:v>45426</c:v>
                </c:pt>
                <c:pt idx="179">
                  <c:v>45425</c:v>
                </c:pt>
                <c:pt idx="180">
                  <c:v>45422</c:v>
                </c:pt>
                <c:pt idx="181">
                  <c:v>45421</c:v>
                </c:pt>
                <c:pt idx="182">
                  <c:v>45420</c:v>
                </c:pt>
                <c:pt idx="183">
                  <c:v>45419</c:v>
                </c:pt>
                <c:pt idx="184">
                  <c:v>45418</c:v>
                </c:pt>
                <c:pt idx="185">
                  <c:v>45415</c:v>
                </c:pt>
                <c:pt idx="186">
                  <c:v>45414</c:v>
                </c:pt>
                <c:pt idx="187">
                  <c:v>45413</c:v>
                </c:pt>
                <c:pt idx="188">
                  <c:v>45412</c:v>
                </c:pt>
                <c:pt idx="189">
                  <c:v>45411</c:v>
                </c:pt>
                <c:pt idx="190">
                  <c:v>45408</c:v>
                </c:pt>
                <c:pt idx="191">
                  <c:v>45407</c:v>
                </c:pt>
                <c:pt idx="192">
                  <c:v>45406</c:v>
                </c:pt>
                <c:pt idx="193">
                  <c:v>45405</c:v>
                </c:pt>
                <c:pt idx="194">
                  <c:v>45404</c:v>
                </c:pt>
                <c:pt idx="195">
                  <c:v>45401</c:v>
                </c:pt>
                <c:pt idx="196">
                  <c:v>45400</c:v>
                </c:pt>
              </c:numCache>
            </c:numRef>
          </c:cat>
          <c:val>
            <c:numRef>
              <c:f>'GAS TTF'!$D$9:$D$205</c:f>
              <c:numCache>
                <c:formatCode>0.0</c:formatCode>
                <c:ptCount val="197"/>
                <c:pt idx="0">
                  <c:v>48.45</c:v>
                </c:pt>
                <c:pt idx="1">
                  <c:v>48.09</c:v>
                </c:pt>
                <c:pt idx="2">
                  <c:v>46.65</c:v>
                </c:pt>
                <c:pt idx="3">
                  <c:v>48.86</c:v>
                </c:pt>
                <c:pt idx="4">
                  <c:v>50.48</c:v>
                </c:pt>
                <c:pt idx="5">
                  <c:v>46.95</c:v>
                </c:pt>
                <c:pt idx="6">
                  <c:v>46.86</c:v>
                </c:pt>
                <c:pt idx="7">
                  <c:v>47.26</c:v>
                </c:pt>
                <c:pt idx="8">
                  <c:v>49.19</c:v>
                </c:pt>
                <c:pt idx="9">
                  <c:v>48.71</c:v>
                </c:pt>
                <c:pt idx="10">
                  <c:v>51.02</c:v>
                </c:pt>
                <c:pt idx="11">
                  <c:v>51.15</c:v>
                </c:pt>
                <c:pt idx="12">
                  <c:v>50.26</c:v>
                </c:pt>
                <c:pt idx="13">
                  <c:v>50.26</c:v>
                </c:pt>
                <c:pt idx="14">
                  <c:v>49.52</c:v>
                </c:pt>
                <c:pt idx="15">
                  <c:v>49.68</c:v>
                </c:pt>
                <c:pt idx="16">
                  <c:v>48.14</c:v>
                </c:pt>
                <c:pt idx="17">
                  <c:v>48.14</c:v>
                </c:pt>
                <c:pt idx="18">
                  <c:v>48.14</c:v>
                </c:pt>
                <c:pt idx="19">
                  <c:v>47.06</c:v>
                </c:pt>
                <c:pt idx="20">
                  <c:v>45.42</c:v>
                </c:pt>
                <c:pt idx="21">
                  <c:v>44.19</c:v>
                </c:pt>
                <c:pt idx="22">
                  <c:v>42.13</c:v>
                </c:pt>
                <c:pt idx="23">
                  <c:v>43.37</c:v>
                </c:pt>
                <c:pt idx="24">
                  <c:v>41.88</c:v>
                </c:pt>
                <c:pt idx="25">
                  <c:v>43.32</c:v>
                </c:pt>
                <c:pt idx="26">
                  <c:v>44.8</c:v>
                </c:pt>
                <c:pt idx="27">
                  <c:v>47.05</c:v>
                </c:pt>
                <c:pt idx="28">
                  <c:v>47.89</c:v>
                </c:pt>
                <c:pt idx="29">
                  <c:v>47.43</c:v>
                </c:pt>
                <c:pt idx="30">
                  <c:v>48.93</c:v>
                </c:pt>
                <c:pt idx="31">
                  <c:v>49.09</c:v>
                </c:pt>
                <c:pt idx="32">
                  <c:v>49.13</c:v>
                </c:pt>
                <c:pt idx="33">
                  <c:v>50.86</c:v>
                </c:pt>
                <c:pt idx="34">
                  <c:v>50.81</c:v>
                </c:pt>
                <c:pt idx="35">
                  <c:v>49.68</c:v>
                </c:pt>
                <c:pt idx="36">
                  <c:v>49.21</c:v>
                </c:pt>
                <c:pt idx="37">
                  <c:v>49.23</c:v>
                </c:pt>
                <c:pt idx="38">
                  <c:v>48.86</c:v>
                </c:pt>
                <c:pt idx="39">
                  <c:v>49.72</c:v>
                </c:pt>
                <c:pt idx="40">
                  <c:v>48.47</c:v>
                </c:pt>
                <c:pt idx="41">
                  <c:v>50.83</c:v>
                </c:pt>
                <c:pt idx="42">
                  <c:v>49.18</c:v>
                </c:pt>
                <c:pt idx="43">
                  <c:v>48.37</c:v>
                </c:pt>
                <c:pt idx="44">
                  <c:v>49.76</c:v>
                </c:pt>
                <c:pt idx="45">
                  <c:v>48.07</c:v>
                </c:pt>
                <c:pt idx="46">
                  <c:v>48.39</c:v>
                </c:pt>
                <c:pt idx="47">
                  <c:v>46.19</c:v>
                </c:pt>
                <c:pt idx="48">
                  <c:v>46.12</c:v>
                </c:pt>
                <c:pt idx="49">
                  <c:v>46.72</c:v>
                </c:pt>
                <c:pt idx="50">
                  <c:v>44.72</c:v>
                </c:pt>
                <c:pt idx="51">
                  <c:v>44.35</c:v>
                </c:pt>
                <c:pt idx="52">
                  <c:v>43.56</c:v>
                </c:pt>
                <c:pt idx="53">
                  <c:v>43.99</c:v>
                </c:pt>
                <c:pt idx="54">
                  <c:v>43.83</c:v>
                </c:pt>
                <c:pt idx="55">
                  <c:v>41.44</c:v>
                </c:pt>
                <c:pt idx="56">
                  <c:v>43.1</c:v>
                </c:pt>
                <c:pt idx="57">
                  <c:v>44.13</c:v>
                </c:pt>
                <c:pt idx="58">
                  <c:v>46.01</c:v>
                </c:pt>
                <c:pt idx="59">
                  <c:v>45.57</c:v>
                </c:pt>
                <c:pt idx="60">
                  <c:v>46.33</c:v>
                </c:pt>
                <c:pt idx="61">
                  <c:v>45.56</c:v>
                </c:pt>
                <c:pt idx="62">
                  <c:v>44.26</c:v>
                </c:pt>
                <c:pt idx="63">
                  <c:v>44.19</c:v>
                </c:pt>
                <c:pt idx="64">
                  <c:v>43.13</c:v>
                </c:pt>
                <c:pt idx="65">
                  <c:v>42.16</c:v>
                </c:pt>
                <c:pt idx="66">
                  <c:v>42.57</c:v>
                </c:pt>
                <c:pt idx="67">
                  <c:v>41.98</c:v>
                </c:pt>
                <c:pt idx="68">
                  <c:v>42.74</c:v>
                </c:pt>
                <c:pt idx="69">
                  <c:v>44</c:v>
                </c:pt>
                <c:pt idx="70">
                  <c:v>43.37</c:v>
                </c:pt>
                <c:pt idx="71">
                  <c:v>43.75</c:v>
                </c:pt>
                <c:pt idx="72">
                  <c:v>41.46</c:v>
                </c:pt>
                <c:pt idx="73">
                  <c:v>41.67</c:v>
                </c:pt>
                <c:pt idx="74">
                  <c:v>43.9</c:v>
                </c:pt>
                <c:pt idx="75">
                  <c:v>44.1</c:v>
                </c:pt>
                <c:pt idx="76">
                  <c:v>43.63</c:v>
                </c:pt>
                <c:pt idx="77">
                  <c:v>42.52</c:v>
                </c:pt>
                <c:pt idx="78">
                  <c:v>43.03</c:v>
                </c:pt>
                <c:pt idx="79" formatCode="General">
                  <c:v>42.75</c:v>
                </c:pt>
                <c:pt idx="80">
                  <c:v>43.12</c:v>
                </c:pt>
                <c:pt idx="81">
                  <c:v>41.91</c:v>
                </c:pt>
                <c:pt idx="82">
                  <c:v>41.63</c:v>
                </c:pt>
                <c:pt idx="83">
                  <c:v>40.58</c:v>
                </c:pt>
                <c:pt idx="84">
                  <c:v>40.47</c:v>
                </c:pt>
                <c:pt idx="85">
                  <c:v>38.6</c:v>
                </c:pt>
                <c:pt idx="86">
                  <c:v>36.42</c:v>
                </c:pt>
                <c:pt idx="87">
                  <c:v>38.909999999999997</c:v>
                </c:pt>
                <c:pt idx="88">
                  <c:v>38.950000000000003</c:v>
                </c:pt>
                <c:pt idx="89">
                  <c:v>38.07</c:v>
                </c:pt>
                <c:pt idx="90">
                  <c:v>39.909999999999997</c:v>
                </c:pt>
                <c:pt idx="91">
                  <c:v>39.200000000000003</c:v>
                </c:pt>
                <c:pt idx="92">
                  <c:v>39.799999999999997</c:v>
                </c:pt>
                <c:pt idx="93">
                  <c:v>38.5</c:v>
                </c:pt>
                <c:pt idx="94">
                  <c:v>40.5</c:v>
                </c:pt>
                <c:pt idx="95">
                  <c:v>40.119999999999997</c:v>
                </c:pt>
                <c:pt idx="96">
                  <c:v>39.61</c:v>
                </c:pt>
                <c:pt idx="97">
                  <c:v>39.21</c:v>
                </c:pt>
                <c:pt idx="98">
                  <c:v>40.86</c:v>
                </c:pt>
                <c:pt idx="99">
                  <c:v>42.62</c:v>
                </c:pt>
                <c:pt idx="100">
                  <c:v>43.67</c:v>
                </c:pt>
                <c:pt idx="101">
                  <c:v>43.6</c:v>
                </c:pt>
                <c:pt idx="102">
                  <c:v>42.92</c:v>
                </c:pt>
                <c:pt idx="103">
                  <c:v>43.2</c:v>
                </c:pt>
                <c:pt idx="104">
                  <c:v>41.33</c:v>
                </c:pt>
                <c:pt idx="105">
                  <c:v>41.03</c:v>
                </c:pt>
                <c:pt idx="106">
                  <c:v>40.799999999999997</c:v>
                </c:pt>
                <c:pt idx="107">
                  <c:v>41.43</c:v>
                </c:pt>
                <c:pt idx="108">
                  <c:v>42.41</c:v>
                </c:pt>
                <c:pt idx="109">
                  <c:v>44.07</c:v>
                </c:pt>
                <c:pt idx="110">
                  <c:v>43.34</c:v>
                </c:pt>
                <c:pt idx="111">
                  <c:v>43.39</c:v>
                </c:pt>
                <c:pt idx="112">
                  <c:v>42.95</c:v>
                </c:pt>
                <c:pt idx="113">
                  <c:v>43.28</c:v>
                </c:pt>
                <c:pt idx="114">
                  <c:v>44.49</c:v>
                </c:pt>
                <c:pt idx="115">
                  <c:v>44.1</c:v>
                </c:pt>
                <c:pt idx="116">
                  <c:v>43.9</c:v>
                </c:pt>
                <c:pt idx="117">
                  <c:v>42.1</c:v>
                </c:pt>
                <c:pt idx="118">
                  <c:v>40.229999999999997</c:v>
                </c:pt>
                <c:pt idx="119">
                  <c:v>39.299999999999997</c:v>
                </c:pt>
                <c:pt idx="120">
                  <c:v>39.81</c:v>
                </c:pt>
                <c:pt idx="121">
                  <c:v>37.92</c:v>
                </c:pt>
                <c:pt idx="122">
                  <c:v>37.340000000000003</c:v>
                </c:pt>
                <c:pt idx="123">
                  <c:v>36.76</c:v>
                </c:pt>
                <c:pt idx="124">
                  <c:v>35.159999999999997</c:v>
                </c:pt>
                <c:pt idx="125">
                  <c:v>35.159999999999997</c:v>
                </c:pt>
                <c:pt idx="126">
                  <c:v>34.590000000000003</c:v>
                </c:pt>
                <c:pt idx="127">
                  <c:v>35.4</c:v>
                </c:pt>
                <c:pt idx="128">
                  <c:v>34.07</c:v>
                </c:pt>
                <c:pt idx="129">
                  <c:v>34.74</c:v>
                </c:pt>
                <c:pt idx="130">
                  <c:v>34.53</c:v>
                </c:pt>
                <c:pt idx="131">
                  <c:v>34.93</c:v>
                </c:pt>
                <c:pt idx="132">
                  <c:v>34.54</c:v>
                </c:pt>
                <c:pt idx="133">
                  <c:v>35.72</c:v>
                </c:pt>
                <c:pt idx="134">
                  <c:v>34.369999999999997</c:v>
                </c:pt>
                <c:pt idx="135">
                  <c:v>34.6</c:v>
                </c:pt>
                <c:pt idx="136">
                  <c:v>33.799999999999997</c:v>
                </c:pt>
                <c:pt idx="137">
                  <c:v>33.33</c:v>
                </c:pt>
                <c:pt idx="138">
                  <c:v>33.630000000000003</c:v>
                </c:pt>
                <c:pt idx="139">
                  <c:v>34.85</c:v>
                </c:pt>
                <c:pt idx="140">
                  <c:v>36.36</c:v>
                </c:pt>
                <c:pt idx="141">
                  <c:v>35.380000000000003</c:v>
                </c:pt>
                <c:pt idx="142">
                  <c:v>36.21</c:v>
                </c:pt>
                <c:pt idx="143">
                  <c:v>35.92</c:v>
                </c:pt>
                <c:pt idx="144">
                  <c:v>36.53</c:v>
                </c:pt>
                <c:pt idx="145">
                  <c:v>36.53</c:v>
                </c:pt>
                <c:pt idx="146">
                  <c:v>36.549999999999997</c:v>
                </c:pt>
                <c:pt idx="147">
                  <c:v>36.49</c:v>
                </c:pt>
                <c:pt idx="148">
                  <c:v>36.96</c:v>
                </c:pt>
                <c:pt idx="149" formatCode="General">
                  <c:v>37</c:v>
                </c:pt>
                <c:pt idx="150">
                  <c:v>36.299999999999997</c:v>
                </c:pt>
                <c:pt idx="151">
                  <c:v>36.869999999999997</c:v>
                </c:pt>
                <c:pt idx="152">
                  <c:v>37.92</c:v>
                </c:pt>
                <c:pt idx="153">
                  <c:v>37.21</c:v>
                </c:pt>
                <c:pt idx="154">
                  <c:v>36.82</c:v>
                </c:pt>
                <c:pt idx="155">
                  <c:v>37.85</c:v>
                </c:pt>
                <c:pt idx="156">
                  <c:v>36.36</c:v>
                </c:pt>
                <c:pt idx="157">
                  <c:v>37.89</c:v>
                </c:pt>
                <c:pt idx="158">
                  <c:v>36.81</c:v>
                </c:pt>
                <c:pt idx="159">
                  <c:v>37.04</c:v>
                </c:pt>
                <c:pt idx="160">
                  <c:v>35.75</c:v>
                </c:pt>
                <c:pt idx="161">
                  <c:v>36.130000000000003</c:v>
                </c:pt>
                <c:pt idx="162">
                  <c:v>36.270000000000003</c:v>
                </c:pt>
                <c:pt idx="163">
                  <c:v>37.200000000000003</c:v>
                </c:pt>
                <c:pt idx="164">
                  <c:v>39.68</c:v>
                </c:pt>
                <c:pt idx="165">
                  <c:v>37.369999999999997</c:v>
                </c:pt>
                <c:pt idx="166">
                  <c:v>37.840000000000003</c:v>
                </c:pt>
                <c:pt idx="167">
                  <c:v>36.6</c:v>
                </c:pt>
                <c:pt idx="168">
                  <c:v>36.42</c:v>
                </c:pt>
                <c:pt idx="169">
                  <c:v>38.25</c:v>
                </c:pt>
                <c:pt idx="170">
                  <c:v>36.6</c:v>
                </c:pt>
                <c:pt idx="171">
                  <c:v>38.25</c:v>
                </c:pt>
                <c:pt idx="172">
                  <c:v>37.65</c:v>
                </c:pt>
                <c:pt idx="173">
                  <c:v>35.729999999999997</c:v>
                </c:pt>
                <c:pt idx="174">
                  <c:v>34.519066899688603</c:v>
                </c:pt>
                <c:pt idx="175">
                  <c:v>33.425366320274698</c:v>
                </c:pt>
                <c:pt idx="176">
                  <c:v>32.594878258129803</c:v>
                </c:pt>
                <c:pt idx="177">
                  <c:v>32.101855378421</c:v>
                </c:pt>
                <c:pt idx="178">
                  <c:v>31.783121842512401</c:v>
                </c:pt>
                <c:pt idx="179">
                  <c:v>31.0693018037455</c:v>
                </c:pt>
                <c:pt idx="180">
                  <c:v>31.639367212655799</c:v>
                </c:pt>
                <c:pt idx="181">
                  <c:v>33.2053991116478</c:v>
                </c:pt>
                <c:pt idx="182">
                  <c:v>32.557189981411298</c:v>
                </c:pt>
                <c:pt idx="183">
                  <c:v>33.761262714233403</c:v>
                </c:pt>
                <c:pt idx="184">
                  <c:v>35.211267605633701</c:v>
                </c:pt>
                <c:pt idx="185">
                  <c:v>32.381608107235799</c:v>
                </c:pt>
                <c:pt idx="186">
                  <c:v>32.925782925782798</c:v>
                </c:pt>
                <c:pt idx="187">
                  <c:v>30.520780903629301</c:v>
                </c:pt>
                <c:pt idx="188">
                  <c:v>30.608435983576001</c:v>
                </c:pt>
                <c:pt idx="189">
                  <c:v>29.745315782703901</c:v>
                </c:pt>
                <c:pt idx="190">
                  <c:v>31.01</c:v>
                </c:pt>
                <c:pt idx="191">
                  <c:v>32.72</c:v>
                </c:pt>
                <c:pt idx="192">
                  <c:v>31.88</c:v>
                </c:pt>
                <c:pt idx="193">
                  <c:v>31.27</c:v>
                </c:pt>
                <c:pt idx="194">
                  <c:v>31.64</c:v>
                </c:pt>
                <c:pt idx="195">
                  <c:v>33.080832294563102</c:v>
                </c:pt>
                <c:pt idx="196">
                  <c:v>34.728282849783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D5-4B8E-BDA6-7BE676FF2D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22225" cap="flat" cmpd="thinThick" algn="ctr">
              <a:solidFill>
                <a:schemeClr val="accent5">
                  <a:lumMod val="75000"/>
                  <a:alpha val="33000"/>
                </a:schemeClr>
              </a:solidFill>
              <a:round/>
            </a:ln>
            <a:effectLst/>
          </c:spPr>
        </c:dropLines>
        <c:smooth val="0"/>
        <c:axId val="466947215"/>
        <c:axId val="466945551"/>
      </c:lineChart>
      <c:dateAx>
        <c:axId val="466947215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800" b="1" i="0" u="none" strike="noStrike" kern="1200" spc="2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466945551"/>
        <c:crosses val="autoZero"/>
        <c:auto val="1"/>
        <c:lblOffset val="100"/>
        <c:baseTimeUnit val="days"/>
        <c:majorUnit val="9"/>
        <c:majorTimeUnit val="days"/>
      </c:dateAx>
      <c:valAx>
        <c:axId val="466945551"/>
        <c:scaling>
          <c:orientation val="minMax"/>
          <c:max val="50"/>
          <c:min val="20"/>
        </c:scaling>
        <c:delete val="0"/>
        <c:axPos val="l"/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466947215"/>
        <c:crossesAt val="44340"/>
        <c:crossBetween val="between"/>
      </c:valAx>
      <c:spPr>
        <a:solidFill>
          <a:srgbClr val="FFFFFF"/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latin typeface="Corbel" panose="020B0503020204020204" pitchFamily="34" charset="0"/>
        </a:defRPr>
      </a:pPr>
      <a:endParaRPr lang="ru-RU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ru-RU" sz="1800" b="0" i="0" u="none" strike="noStrike" kern="1200" spc="0" baseline="0" dirty="0">
                <a:solidFill>
                  <a:schemeClr val="accent5">
                    <a:lumMod val="50000"/>
                  </a:schemeClr>
                </a:solidFill>
                <a:effectLst/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400" b="1" i="0" u="none" strike="noStrike" kern="1200" spc="0" baseline="0" dirty="0">
                <a:solidFill>
                  <a:schemeClr val="accent5">
                    <a:lumMod val="50000"/>
                  </a:schemeClr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Динамика</a:t>
            </a:r>
            <a:r>
              <a:rPr lang="ru-RU" sz="1400" b="0" i="0" u="none" strike="noStrike" kern="1200" spc="0" baseline="0" dirty="0">
                <a:solidFill>
                  <a:schemeClr val="accent5">
                    <a:lumMod val="50000"/>
                  </a:schemeClr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 </a:t>
            </a:r>
            <a:r>
              <a:rPr lang="ru-RU" sz="1400" b="1" i="0" u="none" strike="noStrike" kern="1200" spc="0" baseline="0" dirty="0">
                <a:solidFill>
                  <a:schemeClr val="accent5">
                    <a:lumMod val="50000"/>
                  </a:schemeClr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SOFR</a:t>
            </a:r>
          </a:p>
        </c:rich>
      </c:tx>
      <c:layout>
        <c:manualLayout>
          <c:xMode val="edge"/>
          <c:yMode val="edge"/>
          <c:x val="0.32641957338413624"/>
          <c:y val="2.57200468405070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1800" b="0" i="0" u="none" strike="noStrike" kern="1200" spc="0" baseline="0" dirty="0">
              <a:solidFill>
                <a:schemeClr val="accent5">
                  <a:lumMod val="50000"/>
                </a:schemeClr>
              </a:solidFill>
              <a:effectLst/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8.571037364167125E-2"/>
          <c:y val="0.15611407053134863"/>
          <c:w val="0.85286272316301381"/>
          <c:h val="0.47277309159637387"/>
        </c:manualLayout>
      </c:layout>
      <c:lineChart>
        <c:grouping val="standard"/>
        <c:varyColors val="0"/>
        <c:ser>
          <c:idx val="0"/>
          <c:order val="0"/>
          <c:spPr>
            <a:ln w="31750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OFR!$A$13:$A$156</c:f>
              <c:numCache>
                <c:formatCode>m/d/yyyy</c:formatCode>
                <c:ptCount val="144"/>
                <c:pt idx="0">
                  <c:v>45673</c:v>
                </c:pt>
                <c:pt idx="1">
                  <c:v>45672</c:v>
                </c:pt>
                <c:pt idx="2">
                  <c:v>45671</c:v>
                </c:pt>
                <c:pt idx="3">
                  <c:v>45670</c:v>
                </c:pt>
                <c:pt idx="4">
                  <c:v>45667</c:v>
                </c:pt>
                <c:pt idx="5">
                  <c:v>45666</c:v>
                </c:pt>
                <c:pt idx="6">
                  <c:v>45665</c:v>
                </c:pt>
                <c:pt idx="7">
                  <c:v>45664</c:v>
                </c:pt>
                <c:pt idx="8">
                  <c:v>45663</c:v>
                </c:pt>
                <c:pt idx="9">
                  <c:v>45660</c:v>
                </c:pt>
                <c:pt idx="10">
                  <c:v>45659</c:v>
                </c:pt>
                <c:pt idx="11">
                  <c:v>45658</c:v>
                </c:pt>
                <c:pt idx="12">
                  <c:v>45657</c:v>
                </c:pt>
                <c:pt idx="13">
                  <c:v>45656</c:v>
                </c:pt>
                <c:pt idx="14">
                  <c:v>45653</c:v>
                </c:pt>
                <c:pt idx="15">
                  <c:v>45652</c:v>
                </c:pt>
                <c:pt idx="16">
                  <c:v>45651</c:v>
                </c:pt>
                <c:pt idx="17">
                  <c:v>45650</c:v>
                </c:pt>
                <c:pt idx="18">
                  <c:v>45649</c:v>
                </c:pt>
                <c:pt idx="19">
                  <c:v>45646</c:v>
                </c:pt>
                <c:pt idx="20">
                  <c:v>45645</c:v>
                </c:pt>
                <c:pt idx="21">
                  <c:v>45644</c:v>
                </c:pt>
                <c:pt idx="22">
                  <c:v>45643</c:v>
                </c:pt>
                <c:pt idx="23">
                  <c:v>45642</c:v>
                </c:pt>
                <c:pt idx="24">
                  <c:v>45639</c:v>
                </c:pt>
                <c:pt idx="25">
                  <c:v>45638</c:v>
                </c:pt>
                <c:pt idx="26">
                  <c:v>45637</c:v>
                </c:pt>
                <c:pt idx="27">
                  <c:v>45636</c:v>
                </c:pt>
                <c:pt idx="28">
                  <c:v>45635</c:v>
                </c:pt>
                <c:pt idx="29">
                  <c:v>45632</c:v>
                </c:pt>
                <c:pt idx="30">
                  <c:v>45631</c:v>
                </c:pt>
                <c:pt idx="31">
                  <c:v>45630</c:v>
                </c:pt>
                <c:pt idx="32">
                  <c:v>45629</c:v>
                </c:pt>
                <c:pt idx="33">
                  <c:v>45628</c:v>
                </c:pt>
                <c:pt idx="34">
                  <c:v>45625</c:v>
                </c:pt>
                <c:pt idx="35">
                  <c:v>45624</c:v>
                </c:pt>
                <c:pt idx="36">
                  <c:v>45623</c:v>
                </c:pt>
                <c:pt idx="37">
                  <c:v>45622</c:v>
                </c:pt>
                <c:pt idx="38">
                  <c:v>45621</c:v>
                </c:pt>
                <c:pt idx="39">
                  <c:v>45618</c:v>
                </c:pt>
                <c:pt idx="40">
                  <c:v>45617</c:v>
                </c:pt>
                <c:pt idx="41">
                  <c:v>45616</c:v>
                </c:pt>
                <c:pt idx="42">
                  <c:v>45615</c:v>
                </c:pt>
                <c:pt idx="43">
                  <c:v>45614</c:v>
                </c:pt>
                <c:pt idx="44">
                  <c:v>45611</c:v>
                </c:pt>
                <c:pt idx="45">
                  <c:v>45610</c:v>
                </c:pt>
                <c:pt idx="46">
                  <c:v>45609</c:v>
                </c:pt>
                <c:pt idx="47">
                  <c:v>45608</c:v>
                </c:pt>
                <c:pt idx="48">
                  <c:v>45607</c:v>
                </c:pt>
                <c:pt idx="49">
                  <c:v>45604</c:v>
                </c:pt>
                <c:pt idx="50">
                  <c:v>45603</c:v>
                </c:pt>
                <c:pt idx="51">
                  <c:v>45602</c:v>
                </c:pt>
                <c:pt idx="52">
                  <c:v>45601</c:v>
                </c:pt>
                <c:pt idx="53">
                  <c:v>45600</c:v>
                </c:pt>
                <c:pt idx="54">
                  <c:v>45597</c:v>
                </c:pt>
                <c:pt idx="55">
                  <c:v>45596</c:v>
                </c:pt>
                <c:pt idx="56">
                  <c:v>45595</c:v>
                </c:pt>
                <c:pt idx="57">
                  <c:v>45594</c:v>
                </c:pt>
                <c:pt idx="58">
                  <c:v>45593</c:v>
                </c:pt>
                <c:pt idx="59">
                  <c:v>45590</c:v>
                </c:pt>
                <c:pt idx="60">
                  <c:v>45589</c:v>
                </c:pt>
                <c:pt idx="61">
                  <c:v>45588</c:v>
                </c:pt>
                <c:pt idx="62">
                  <c:v>45587</c:v>
                </c:pt>
                <c:pt idx="63">
                  <c:v>45586</c:v>
                </c:pt>
                <c:pt idx="64">
                  <c:v>45583</c:v>
                </c:pt>
                <c:pt idx="65">
                  <c:v>45582</c:v>
                </c:pt>
                <c:pt idx="66">
                  <c:v>45581</c:v>
                </c:pt>
                <c:pt idx="67">
                  <c:v>45580</c:v>
                </c:pt>
                <c:pt idx="68">
                  <c:v>45579</c:v>
                </c:pt>
                <c:pt idx="69">
                  <c:v>45576</c:v>
                </c:pt>
                <c:pt idx="70">
                  <c:v>45575</c:v>
                </c:pt>
                <c:pt idx="71">
                  <c:v>45574</c:v>
                </c:pt>
                <c:pt idx="72">
                  <c:v>45573</c:v>
                </c:pt>
                <c:pt idx="73">
                  <c:v>45572</c:v>
                </c:pt>
                <c:pt idx="74">
                  <c:v>45569</c:v>
                </c:pt>
                <c:pt idx="75">
                  <c:v>45568</c:v>
                </c:pt>
                <c:pt idx="76">
                  <c:v>45567</c:v>
                </c:pt>
                <c:pt idx="77">
                  <c:v>45566</c:v>
                </c:pt>
                <c:pt idx="78">
                  <c:v>45565</c:v>
                </c:pt>
                <c:pt idx="79">
                  <c:v>45562</c:v>
                </c:pt>
                <c:pt idx="80">
                  <c:v>45561</c:v>
                </c:pt>
                <c:pt idx="81">
                  <c:v>45560</c:v>
                </c:pt>
                <c:pt idx="82">
                  <c:v>45559</c:v>
                </c:pt>
                <c:pt idx="83">
                  <c:v>45558</c:v>
                </c:pt>
                <c:pt idx="84">
                  <c:v>45555</c:v>
                </c:pt>
                <c:pt idx="85">
                  <c:v>45554</c:v>
                </c:pt>
                <c:pt idx="86">
                  <c:v>45553</c:v>
                </c:pt>
                <c:pt idx="87">
                  <c:v>45552</c:v>
                </c:pt>
                <c:pt idx="88">
                  <c:v>45551</c:v>
                </c:pt>
                <c:pt idx="89">
                  <c:v>45548</c:v>
                </c:pt>
                <c:pt idx="90">
                  <c:v>45547</c:v>
                </c:pt>
                <c:pt idx="91">
                  <c:v>45546</c:v>
                </c:pt>
                <c:pt idx="92">
                  <c:v>45545</c:v>
                </c:pt>
                <c:pt idx="93">
                  <c:v>45544</c:v>
                </c:pt>
                <c:pt idx="94">
                  <c:v>45541</c:v>
                </c:pt>
                <c:pt idx="95">
                  <c:v>45540</c:v>
                </c:pt>
                <c:pt idx="96">
                  <c:v>45539</c:v>
                </c:pt>
                <c:pt idx="97">
                  <c:v>45538</c:v>
                </c:pt>
                <c:pt idx="98">
                  <c:v>45537</c:v>
                </c:pt>
                <c:pt idx="99">
                  <c:v>45534</c:v>
                </c:pt>
                <c:pt idx="100">
                  <c:v>45533</c:v>
                </c:pt>
                <c:pt idx="101">
                  <c:v>45532</c:v>
                </c:pt>
                <c:pt idx="102">
                  <c:v>45531</c:v>
                </c:pt>
                <c:pt idx="103">
                  <c:v>45530</c:v>
                </c:pt>
                <c:pt idx="104">
                  <c:v>45527</c:v>
                </c:pt>
                <c:pt idx="105">
                  <c:v>45526</c:v>
                </c:pt>
                <c:pt idx="106">
                  <c:v>45525</c:v>
                </c:pt>
                <c:pt idx="107">
                  <c:v>45524</c:v>
                </c:pt>
                <c:pt idx="108">
                  <c:v>45523</c:v>
                </c:pt>
                <c:pt idx="109">
                  <c:v>45520</c:v>
                </c:pt>
                <c:pt idx="110">
                  <c:v>45519</c:v>
                </c:pt>
                <c:pt idx="111">
                  <c:v>45518</c:v>
                </c:pt>
                <c:pt idx="112">
                  <c:v>45517</c:v>
                </c:pt>
                <c:pt idx="113">
                  <c:v>45516</c:v>
                </c:pt>
                <c:pt idx="114">
                  <c:v>45513</c:v>
                </c:pt>
                <c:pt idx="115">
                  <c:v>45512</c:v>
                </c:pt>
                <c:pt idx="116">
                  <c:v>45511</c:v>
                </c:pt>
                <c:pt idx="117">
                  <c:v>45510</c:v>
                </c:pt>
                <c:pt idx="118">
                  <c:v>45509</c:v>
                </c:pt>
                <c:pt idx="119">
                  <c:v>45506</c:v>
                </c:pt>
                <c:pt idx="120">
                  <c:v>45505</c:v>
                </c:pt>
                <c:pt idx="121">
                  <c:v>45504</c:v>
                </c:pt>
                <c:pt idx="122">
                  <c:v>45503</c:v>
                </c:pt>
                <c:pt idx="123">
                  <c:v>45502</c:v>
                </c:pt>
                <c:pt idx="124">
                  <c:v>45499</c:v>
                </c:pt>
                <c:pt idx="125">
                  <c:v>45498</c:v>
                </c:pt>
                <c:pt idx="126">
                  <c:v>45497</c:v>
                </c:pt>
                <c:pt idx="127">
                  <c:v>45496</c:v>
                </c:pt>
                <c:pt idx="128">
                  <c:v>45495</c:v>
                </c:pt>
                <c:pt idx="129">
                  <c:v>45492</c:v>
                </c:pt>
                <c:pt idx="130">
                  <c:v>45491</c:v>
                </c:pt>
                <c:pt idx="131">
                  <c:v>45490</c:v>
                </c:pt>
                <c:pt idx="132">
                  <c:v>45489</c:v>
                </c:pt>
                <c:pt idx="133">
                  <c:v>45488</c:v>
                </c:pt>
                <c:pt idx="134">
                  <c:v>45485</c:v>
                </c:pt>
                <c:pt idx="135">
                  <c:v>45484</c:v>
                </c:pt>
                <c:pt idx="136">
                  <c:v>45483</c:v>
                </c:pt>
                <c:pt idx="137">
                  <c:v>45482</c:v>
                </c:pt>
                <c:pt idx="138">
                  <c:v>45481</c:v>
                </c:pt>
                <c:pt idx="139">
                  <c:v>45478</c:v>
                </c:pt>
                <c:pt idx="140">
                  <c:v>45477</c:v>
                </c:pt>
                <c:pt idx="141">
                  <c:v>45476</c:v>
                </c:pt>
                <c:pt idx="142">
                  <c:v>45475</c:v>
                </c:pt>
                <c:pt idx="143">
                  <c:v>45474</c:v>
                </c:pt>
              </c:numCache>
            </c:numRef>
          </c:cat>
          <c:val>
            <c:numRef>
              <c:f>SOFR!$B$13:$B$156</c:f>
              <c:numCache>
                <c:formatCode>General</c:formatCode>
                <c:ptCount val="144"/>
                <c:pt idx="0">
                  <c:v>4.29</c:v>
                </c:pt>
                <c:pt idx="1">
                  <c:v>4.28</c:v>
                </c:pt>
                <c:pt idx="2">
                  <c:v>4.28</c:v>
                </c:pt>
                <c:pt idx="3">
                  <c:v>4.29</c:v>
                </c:pt>
                <c:pt idx="4">
                  <c:v>4.3</c:v>
                </c:pt>
                <c:pt idx="5">
                  <c:v>4.3</c:v>
                </c:pt>
                <c:pt idx="6">
                  <c:v>4.29</c:v>
                </c:pt>
                <c:pt idx="7">
                  <c:v>4.2699999999999996</c:v>
                </c:pt>
                <c:pt idx="8">
                  <c:v>4.2699999999999996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4.49</c:v>
                </c:pt>
                <c:pt idx="12">
                  <c:v>4.49</c:v>
                </c:pt>
                <c:pt idx="13">
                  <c:v>4.37</c:v>
                </c:pt>
                <c:pt idx="14">
                  <c:v>4.46</c:v>
                </c:pt>
                <c:pt idx="15">
                  <c:v>4.53</c:v>
                </c:pt>
                <c:pt idx="16">
                  <c:v>4.4000000000000004</c:v>
                </c:pt>
                <c:pt idx="17">
                  <c:v>4.4000000000000004</c:v>
                </c:pt>
                <c:pt idx="18">
                  <c:v>4.3099999999999996</c:v>
                </c:pt>
                <c:pt idx="19">
                  <c:v>4.3</c:v>
                </c:pt>
                <c:pt idx="20">
                  <c:v>4.3</c:v>
                </c:pt>
                <c:pt idx="21">
                  <c:v>4.57</c:v>
                </c:pt>
                <c:pt idx="22">
                  <c:v>4.62</c:v>
                </c:pt>
                <c:pt idx="23">
                  <c:v>4.6500000000000004</c:v>
                </c:pt>
                <c:pt idx="24">
                  <c:v>4.5999999999999996</c:v>
                </c:pt>
                <c:pt idx="25">
                  <c:v>4.62</c:v>
                </c:pt>
                <c:pt idx="26">
                  <c:v>4.62</c:v>
                </c:pt>
                <c:pt idx="27">
                  <c:v>4.6399999999999997</c:v>
                </c:pt>
                <c:pt idx="28">
                  <c:v>4.63</c:v>
                </c:pt>
                <c:pt idx="29">
                  <c:v>4.5999999999999996</c:v>
                </c:pt>
                <c:pt idx="30">
                  <c:v>4.59</c:v>
                </c:pt>
                <c:pt idx="31">
                  <c:v>4.59</c:v>
                </c:pt>
                <c:pt idx="32">
                  <c:v>4.6399999999999997</c:v>
                </c:pt>
                <c:pt idx="33">
                  <c:v>4.6399999999999997</c:v>
                </c:pt>
                <c:pt idx="34">
                  <c:v>4.59</c:v>
                </c:pt>
                <c:pt idx="35">
                  <c:v>4.57</c:v>
                </c:pt>
                <c:pt idx="36">
                  <c:v>4.57</c:v>
                </c:pt>
                <c:pt idx="37">
                  <c:v>4.58</c:v>
                </c:pt>
                <c:pt idx="38">
                  <c:v>4.58</c:v>
                </c:pt>
                <c:pt idx="39">
                  <c:v>4.57</c:v>
                </c:pt>
                <c:pt idx="40">
                  <c:v>4.57</c:v>
                </c:pt>
                <c:pt idx="41">
                  <c:v>4.5599999999999996</c:v>
                </c:pt>
                <c:pt idx="42">
                  <c:v>4.57</c:v>
                </c:pt>
                <c:pt idx="43">
                  <c:v>4.57</c:v>
                </c:pt>
                <c:pt idx="44">
                  <c:v>4.57</c:v>
                </c:pt>
                <c:pt idx="45">
                  <c:v>4.58</c:v>
                </c:pt>
                <c:pt idx="46">
                  <c:v>4.59</c:v>
                </c:pt>
                <c:pt idx="47">
                  <c:v>4.5999999999999996</c:v>
                </c:pt>
                <c:pt idx="48">
                  <c:v>4.5999999999999996</c:v>
                </c:pt>
                <c:pt idx="49">
                  <c:v>4.5999999999999996</c:v>
                </c:pt>
                <c:pt idx="50">
                  <c:v>4.82</c:v>
                </c:pt>
                <c:pt idx="51">
                  <c:v>4.8099999999999996</c:v>
                </c:pt>
                <c:pt idx="52">
                  <c:v>4.82</c:v>
                </c:pt>
                <c:pt idx="53">
                  <c:v>4.82</c:v>
                </c:pt>
                <c:pt idx="54">
                  <c:v>4.9000000000000004</c:v>
                </c:pt>
                <c:pt idx="55">
                  <c:v>4.9000000000000004</c:v>
                </c:pt>
                <c:pt idx="56">
                  <c:v>4.8099999999999996</c:v>
                </c:pt>
                <c:pt idx="57">
                  <c:v>4.82</c:v>
                </c:pt>
                <c:pt idx="58">
                  <c:v>4.82</c:v>
                </c:pt>
                <c:pt idx="59">
                  <c:v>4.83</c:v>
                </c:pt>
                <c:pt idx="60">
                  <c:v>4.83</c:v>
                </c:pt>
                <c:pt idx="61">
                  <c:v>4.83</c:v>
                </c:pt>
                <c:pt idx="62">
                  <c:v>4.83</c:v>
                </c:pt>
                <c:pt idx="63">
                  <c:v>4.82</c:v>
                </c:pt>
                <c:pt idx="64">
                  <c:v>4.8499999999999996</c:v>
                </c:pt>
                <c:pt idx="65">
                  <c:v>4.8499999999999996</c:v>
                </c:pt>
                <c:pt idx="66">
                  <c:v>4.8600000000000003</c:v>
                </c:pt>
                <c:pt idx="67">
                  <c:v>4.8600000000000003</c:v>
                </c:pt>
                <c:pt idx="68">
                  <c:v>4.8600000000000003</c:v>
                </c:pt>
                <c:pt idx="69">
                  <c:v>4.8099999999999996</c:v>
                </c:pt>
                <c:pt idx="70">
                  <c:v>4.82</c:v>
                </c:pt>
                <c:pt idx="71">
                  <c:v>4.83</c:v>
                </c:pt>
                <c:pt idx="72">
                  <c:v>4.84</c:v>
                </c:pt>
                <c:pt idx="73">
                  <c:v>4.83</c:v>
                </c:pt>
                <c:pt idx="74">
                  <c:v>4.83</c:v>
                </c:pt>
                <c:pt idx="75">
                  <c:v>4.8499999999999996</c:v>
                </c:pt>
                <c:pt idx="76">
                  <c:v>4.92</c:v>
                </c:pt>
                <c:pt idx="77">
                  <c:v>5.05</c:v>
                </c:pt>
                <c:pt idx="78">
                  <c:v>4.96</c:v>
                </c:pt>
                <c:pt idx="79">
                  <c:v>4.84</c:v>
                </c:pt>
                <c:pt idx="80">
                  <c:v>4.83</c:v>
                </c:pt>
                <c:pt idx="81">
                  <c:v>4.84</c:v>
                </c:pt>
                <c:pt idx="82">
                  <c:v>4.84</c:v>
                </c:pt>
                <c:pt idx="83">
                  <c:v>4.83</c:v>
                </c:pt>
                <c:pt idx="84">
                  <c:v>4.82</c:v>
                </c:pt>
                <c:pt idx="85">
                  <c:v>4.82</c:v>
                </c:pt>
                <c:pt idx="86">
                  <c:v>5.33</c:v>
                </c:pt>
                <c:pt idx="87">
                  <c:v>5.33</c:v>
                </c:pt>
                <c:pt idx="88">
                  <c:v>5.38</c:v>
                </c:pt>
                <c:pt idx="89">
                  <c:v>5.33</c:v>
                </c:pt>
                <c:pt idx="90">
                  <c:v>5.33</c:v>
                </c:pt>
                <c:pt idx="91">
                  <c:v>5.32</c:v>
                </c:pt>
                <c:pt idx="92">
                  <c:v>5.33</c:v>
                </c:pt>
                <c:pt idx="93">
                  <c:v>5.34</c:v>
                </c:pt>
                <c:pt idx="94">
                  <c:v>5.34</c:v>
                </c:pt>
                <c:pt idx="95">
                  <c:v>5.35</c:v>
                </c:pt>
                <c:pt idx="96">
                  <c:v>5.35</c:v>
                </c:pt>
                <c:pt idx="97">
                  <c:v>5.34</c:v>
                </c:pt>
                <c:pt idx="98">
                  <c:v>5.32</c:v>
                </c:pt>
                <c:pt idx="99">
                  <c:v>5.32</c:v>
                </c:pt>
                <c:pt idx="100">
                  <c:v>5.33</c:v>
                </c:pt>
                <c:pt idx="101">
                  <c:v>5.35</c:v>
                </c:pt>
                <c:pt idx="102">
                  <c:v>5.35</c:v>
                </c:pt>
                <c:pt idx="103">
                  <c:v>5.34</c:v>
                </c:pt>
                <c:pt idx="104">
                  <c:v>5.33</c:v>
                </c:pt>
                <c:pt idx="105">
                  <c:v>5.31</c:v>
                </c:pt>
                <c:pt idx="106">
                  <c:v>5.31</c:v>
                </c:pt>
                <c:pt idx="107">
                  <c:v>5.32</c:v>
                </c:pt>
                <c:pt idx="108">
                  <c:v>5.32</c:v>
                </c:pt>
                <c:pt idx="109">
                  <c:v>5.35</c:v>
                </c:pt>
                <c:pt idx="110">
                  <c:v>5.35</c:v>
                </c:pt>
                <c:pt idx="111">
                  <c:v>5.33</c:v>
                </c:pt>
                <c:pt idx="112">
                  <c:v>5.34</c:v>
                </c:pt>
                <c:pt idx="113">
                  <c:v>5.34</c:v>
                </c:pt>
                <c:pt idx="114">
                  <c:v>5.34</c:v>
                </c:pt>
                <c:pt idx="115">
                  <c:v>5.34</c:v>
                </c:pt>
                <c:pt idx="116">
                  <c:v>5.33</c:v>
                </c:pt>
                <c:pt idx="117">
                  <c:v>5.33</c:v>
                </c:pt>
                <c:pt idx="118">
                  <c:v>5.32</c:v>
                </c:pt>
                <c:pt idx="119">
                  <c:v>5.35</c:v>
                </c:pt>
                <c:pt idx="120">
                  <c:v>5.35</c:v>
                </c:pt>
                <c:pt idx="121">
                  <c:v>5.38</c:v>
                </c:pt>
                <c:pt idx="122">
                  <c:v>5.33</c:v>
                </c:pt>
                <c:pt idx="123">
                  <c:v>5.33</c:v>
                </c:pt>
                <c:pt idx="124">
                  <c:v>5.35</c:v>
                </c:pt>
                <c:pt idx="125">
                  <c:v>5.35</c:v>
                </c:pt>
                <c:pt idx="126">
                  <c:v>5.34</c:v>
                </c:pt>
                <c:pt idx="127">
                  <c:v>5.34</c:v>
                </c:pt>
                <c:pt idx="128">
                  <c:v>5.33</c:v>
                </c:pt>
                <c:pt idx="129">
                  <c:v>5.34</c:v>
                </c:pt>
                <c:pt idx="130">
                  <c:v>5.34</c:v>
                </c:pt>
                <c:pt idx="131">
                  <c:v>5.35</c:v>
                </c:pt>
                <c:pt idx="132">
                  <c:v>5.34</c:v>
                </c:pt>
                <c:pt idx="133">
                  <c:v>5.34</c:v>
                </c:pt>
                <c:pt idx="134">
                  <c:v>5.34</c:v>
                </c:pt>
                <c:pt idx="135">
                  <c:v>5.34</c:v>
                </c:pt>
                <c:pt idx="136">
                  <c:v>5.34</c:v>
                </c:pt>
                <c:pt idx="137">
                  <c:v>5.34</c:v>
                </c:pt>
                <c:pt idx="138">
                  <c:v>5.32</c:v>
                </c:pt>
                <c:pt idx="139">
                  <c:v>5.32</c:v>
                </c:pt>
                <c:pt idx="140">
                  <c:v>5.33</c:v>
                </c:pt>
                <c:pt idx="141">
                  <c:v>5.33</c:v>
                </c:pt>
                <c:pt idx="142">
                  <c:v>5.35</c:v>
                </c:pt>
                <c:pt idx="143">
                  <c:v>5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B1-4624-B609-B8AF7F0E9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7148719"/>
        <c:axId val="1952251423"/>
      </c:lineChart>
      <c:dateAx>
        <c:axId val="1737148719"/>
        <c:scaling>
          <c:orientation val="minMax"/>
          <c:max val="45673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accent5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952251423"/>
        <c:crosses val="autoZero"/>
        <c:auto val="1"/>
        <c:lblOffset val="100"/>
        <c:baseTimeUnit val="days"/>
        <c:majorUnit val="14"/>
        <c:majorTimeUnit val="days"/>
        <c:minorUnit val="1"/>
        <c:minorTimeUnit val="days"/>
      </c:dateAx>
      <c:valAx>
        <c:axId val="1952251423"/>
        <c:scaling>
          <c:orientation val="minMax"/>
          <c:max val="5.4"/>
          <c:min val="4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accent5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7371487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 lang="en-US" sz="1000" b="0" i="0" u="none" strike="noStrike" kern="1200" baseline="0">
          <a:solidFill>
            <a:schemeClr val="accent5"/>
          </a:solidFill>
          <a:latin typeface="Corbel" panose="020B0503020204020204" pitchFamily="34" charset="0"/>
          <a:ea typeface="+mn-ea"/>
          <a:cs typeface="+mn-cs"/>
        </a:defRPr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400" b="1" i="0" baseline="0" dirty="0">
                <a:solidFill>
                  <a:schemeClr val="accent5">
                    <a:lumMod val="50000"/>
                  </a:schemeClr>
                </a:solidFill>
                <a:effectLst/>
              </a:rPr>
              <a:t>Динамика </a:t>
            </a:r>
            <a:r>
              <a:rPr lang="en-US" sz="1400" b="1" i="0" baseline="0" dirty="0">
                <a:solidFill>
                  <a:schemeClr val="accent5">
                    <a:lumMod val="50000"/>
                  </a:schemeClr>
                </a:solidFill>
                <a:effectLst/>
              </a:rPr>
              <a:t>Euribor </a:t>
            </a:r>
            <a:endParaRPr lang="ru-RU" sz="1100" b="1" dirty="0">
              <a:solidFill>
                <a:schemeClr val="accent5">
                  <a:lumMod val="50000"/>
                </a:schemeClr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accent5">
                  <a:lumMod val="50000"/>
                </a:schemeClr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7.5857757466515477E-2"/>
          <c:y val="0.18786201488616322"/>
          <c:w val="0.84835839274457969"/>
          <c:h val="0.50241383473622858"/>
        </c:manualLayout>
      </c:layout>
      <c:lineChart>
        <c:grouping val="standard"/>
        <c:varyColors val="0"/>
        <c:ser>
          <c:idx val="0"/>
          <c:order val="0"/>
          <c:tx>
            <c:strRef>
              <c:f>Euribor!$C$1</c:f>
              <c:strCache>
                <c:ptCount val="1"/>
                <c:pt idx="0">
                  <c:v>3-месячный</c:v>
                </c:pt>
              </c:strCache>
            </c:strRef>
          </c:tx>
          <c:spPr>
            <a:ln w="28575" cap="rnd">
              <a:solidFill>
                <a:srgbClr val="B2BCC2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dLbls>
            <c:dLbl>
              <c:idx val="198"/>
              <c:layout>
                <c:manualLayout>
                  <c:x val="-6.4726036933409371E-3"/>
                  <c:y val="-3.668237377842407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bg1">
                            <a:lumMod val="50000"/>
                          </a:schemeClr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r>
                      <a:rPr lang="en-US" b="1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2,70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3519276629927882E-2"/>
                      <c:h val="0.10260169618321226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1B02-43D4-8B5E-F05FB14305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Euribor!$A$15:$B$217</c:f>
              <c:numCache>
                <c:formatCode>m/d/yyyy</c:formatCode>
                <c:ptCount val="203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7</c:v>
                </c:pt>
                <c:pt idx="6">
                  <c:v>45666</c:v>
                </c:pt>
                <c:pt idx="7">
                  <c:v>45665</c:v>
                </c:pt>
                <c:pt idx="8">
                  <c:v>45664</c:v>
                </c:pt>
                <c:pt idx="9">
                  <c:v>45663</c:v>
                </c:pt>
                <c:pt idx="10">
                  <c:v>45660</c:v>
                </c:pt>
                <c:pt idx="11">
                  <c:v>45659</c:v>
                </c:pt>
                <c:pt idx="12">
                  <c:v>45658</c:v>
                </c:pt>
                <c:pt idx="13">
                  <c:v>45657</c:v>
                </c:pt>
                <c:pt idx="14">
                  <c:v>45656</c:v>
                </c:pt>
                <c:pt idx="15">
                  <c:v>45653</c:v>
                </c:pt>
                <c:pt idx="16">
                  <c:v>45652</c:v>
                </c:pt>
                <c:pt idx="17">
                  <c:v>45651</c:v>
                </c:pt>
                <c:pt idx="18">
                  <c:v>45650</c:v>
                </c:pt>
                <c:pt idx="19">
                  <c:v>45649</c:v>
                </c:pt>
                <c:pt idx="20">
                  <c:v>45646</c:v>
                </c:pt>
                <c:pt idx="21">
                  <c:v>45645</c:v>
                </c:pt>
                <c:pt idx="22">
                  <c:v>45644</c:v>
                </c:pt>
                <c:pt idx="23">
                  <c:v>45643</c:v>
                </c:pt>
                <c:pt idx="24">
                  <c:v>45642</c:v>
                </c:pt>
                <c:pt idx="25">
                  <c:v>45639</c:v>
                </c:pt>
                <c:pt idx="26">
                  <c:v>45638</c:v>
                </c:pt>
                <c:pt idx="27">
                  <c:v>45637</c:v>
                </c:pt>
                <c:pt idx="28">
                  <c:v>45636</c:v>
                </c:pt>
                <c:pt idx="29">
                  <c:v>45635</c:v>
                </c:pt>
                <c:pt idx="30">
                  <c:v>45632</c:v>
                </c:pt>
                <c:pt idx="31">
                  <c:v>45631</c:v>
                </c:pt>
                <c:pt idx="32">
                  <c:v>45630</c:v>
                </c:pt>
                <c:pt idx="33">
                  <c:v>45629</c:v>
                </c:pt>
                <c:pt idx="34">
                  <c:v>45628</c:v>
                </c:pt>
                <c:pt idx="35">
                  <c:v>45625</c:v>
                </c:pt>
                <c:pt idx="36">
                  <c:v>45624</c:v>
                </c:pt>
                <c:pt idx="37">
                  <c:v>45623</c:v>
                </c:pt>
                <c:pt idx="38">
                  <c:v>45622</c:v>
                </c:pt>
                <c:pt idx="39">
                  <c:v>45621</c:v>
                </c:pt>
                <c:pt idx="40">
                  <c:v>45618</c:v>
                </c:pt>
                <c:pt idx="41">
                  <c:v>45617</c:v>
                </c:pt>
                <c:pt idx="42">
                  <c:v>45616</c:v>
                </c:pt>
                <c:pt idx="43">
                  <c:v>45615</c:v>
                </c:pt>
                <c:pt idx="44">
                  <c:v>45614</c:v>
                </c:pt>
                <c:pt idx="45">
                  <c:v>45611</c:v>
                </c:pt>
                <c:pt idx="46">
                  <c:v>45610</c:v>
                </c:pt>
                <c:pt idx="47">
                  <c:v>45609</c:v>
                </c:pt>
                <c:pt idx="48">
                  <c:v>45608</c:v>
                </c:pt>
                <c:pt idx="49">
                  <c:v>45607</c:v>
                </c:pt>
                <c:pt idx="50">
                  <c:v>45604</c:v>
                </c:pt>
                <c:pt idx="51">
                  <c:v>45603</c:v>
                </c:pt>
                <c:pt idx="52">
                  <c:v>45602</c:v>
                </c:pt>
                <c:pt idx="53">
                  <c:v>45601</c:v>
                </c:pt>
                <c:pt idx="54">
                  <c:v>45600</c:v>
                </c:pt>
                <c:pt idx="55">
                  <c:v>45597</c:v>
                </c:pt>
                <c:pt idx="56">
                  <c:v>45596</c:v>
                </c:pt>
                <c:pt idx="57">
                  <c:v>45595</c:v>
                </c:pt>
                <c:pt idx="58">
                  <c:v>45594</c:v>
                </c:pt>
                <c:pt idx="59">
                  <c:v>45593</c:v>
                </c:pt>
                <c:pt idx="60">
                  <c:v>45590</c:v>
                </c:pt>
                <c:pt idx="61">
                  <c:v>45589</c:v>
                </c:pt>
                <c:pt idx="62">
                  <c:v>45588</c:v>
                </c:pt>
                <c:pt idx="63">
                  <c:v>45587</c:v>
                </c:pt>
                <c:pt idx="64">
                  <c:v>45586</c:v>
                </c:pt>
                <c:pt idx="65">
                  <c:v>45583</c:v>
                </c:pt>
                <c:pt idx="66">
                  <c:v>45582</c:v>
                </c:pt>
                <c:pt idx="67">
                  <c:v>45581</c:v>
                </c:pt>
                <c:pt idx="68">
                  <c:v>45580</c:v>
                </c:pt>
                <c:pt idx="69">
                  <c:v>45579</c:v>
                </c:pt>
                <c:pt idx="70">
                  <c:v>45576</c:v>
                </c:pt>
                <c:pt idx="71">
                  <c:v>45575</c:v>
                </c:pt>
                <c:pt idx="72">
                  <c:v>45574</c:v>
                </c:pt>
                <c:pt idx="73">
                  <c:v>45573</c:v>
                </c:pt>
                <c:pt idx="74">
                  <c:v>45572</c:v>
                </c:pt>
                <c:pt idx="75">
                  <c:v>45569</c:v>
                </c:pt>
                <c:pt idx="76">
                  <c:v>45568</c:v>
                </c:pt>
                <c:pt idx="77">
                  <c:v>45567</c:v>
                </c:pt>
                <c:pt idx="78">
                  <c:v>45566</c:v>
                </c:pt>
                <c:pt idx="79">
                  <c:v>45565</c:v>
                </c:pt>
                <c:pt idx="80">
                  <c:v>45562</c:v>
                </c:pt>
                <c:pt idx="81">
                  <c:v>45561</c:v>
                </c:pt>
                <c:pt idx="82">
                  <c:v>45560</c:v>
                </c:pt>
                <c:pt idx="83">
                  <c:v>45559</c:v>
                </c:pt>
                <c:pt idx="84">
                  <c:v>45558</c:v>
                </c:pt>
                <c:pt idx="85">
                  <c:v>45555</c:v>
                </c:pt>
                <c:pt idx="86">
                  <c:v>45554</c:v>
                </c:pt>
                <c:pt idx="87">
                  <c:v>45553</c:v>
                </c:pt>
                <c:pt idx="88">
                  <c:v>45552</c:v>
                </c:pt>
                <c:pt idx="89">
                  <c:v>45551</c:v>
                </c:pt>
                <c:pt idx="90">
                  <c:v>45548</c:v>
                </c:pt>
                <c:pt idx="91">
                  <c:v>45547</c:v>
                </c:pt>
                <c:pt idx="92">
                  <c:v>45546</c:v>
                </c:pt>
                <c:pt idx="93">
                  <c:v>45545</c:v>
                </c:pt>
                <c:pt idx="94">
                  <c:v>45544</c:v>
                </c:pt>
                <c:pt idx="95">
                  <c:v>45541</c:v>
                </c:pt>
                <c:pt idx="96">
                  <c:v>45540</c:v>
                </c:pt>
                <c:pt idx="97">
                  <c:v>45539</c:v>
                </c:pt>
                <c:pt idx="98">
                  <c:v>45538</c:v>
                </c:pt>
                <c:pt idx="99">
                  <c:v>45537</c:v>
                </c:pt>
                <c:pt idx="100">
                  <c:v>45534</c:v>
                </c:pt>
                <c:pt idx="101">
                  <c:v>45533</c:v>
                </c:pt>
                <c:pt idx="102">
                  <c:v>45532</c:v>
                </c:pt>
                <c:pt idx="103">
                  <c:v>45531</c:v>
                </c:pt>
                <c:pt idx="104">
                  <c:v>45530</c:v>
                </c:pt>
                <c:pt idx="105">
                  <c:v>45527</c:v>
                </c:pt>
                <c:pt idx="106">
                  <c:v>45526</c:v>
                </c:pt>
                <c:pt idx="107">
                  <c:v>45525</c:v>
                </c:pt>
                <c:pt idx="108">
                  <c:v>45524</c:v>
                </c:pt>
                <c:pt idx="109">
                  <c:v>45523</c:v>
                </c:pt>
                <c:pt idx="110">
                  <c:v>45520</c:v>
                </c:pt>
                <c:pt idx="111">
                  <c:v>45519</c:v>
                </c:pt>
                <c:pt idx="112">
                  <c:v>45518</c:v>
                </c:pt>
                <c:pt idx="113">
                  <c:v>45517</c:v>
                </c:pt>
                <c:pt idx="114">
                  <c:v>45516</c:v>
                </c:pt>
                <c:pt idx="115">
                  <c:v>45513</c:v>
                </c:pt>
                <c:pt idx="116">
                  <c:v>45512</c:v>
                </c:pt>
                <c:pt idx="117">
                  <c:v>45511</c:v>
                </c:pt>
                <c:pt idx="118">
                  <c:v>45510</c:v>
                </c:pt>
                <c:pt idx="119">
                  <c:v>45509</c:v>
                </c:pt>
                <c:pt idx="120">
                  <c:v>45506</c:v>
                </c:pt>
                <c:pt idx="121">
                  <c:v>45505</c:v>
                </c:pt>
                <c:pt idx="122">
                  <c:v>45504</c:v>
                </c:pt>
                <c:pt idx="123">
                  <c:v>45503</c:v>
                </c:pt>
                <c:pt idx="124">
                  <c:v>45502</c:v>
                </c:pt>
                <c:pt idx="125">
                  <c:v>45499</c:v>
                </c:pt>
                <c:pt idx="126">
                  <c:v>45498</c:v>
                </c:pt>
                <c:pt idx="127">
                  <c:v>45497</c:v>
                </c:pt>
                <c:pt idx="128">
                  <c:v>45496</c:v>
                </c:pt>
                <c:pt idx="129">
                  <c:v>45495</c:v>
                </c:pt>
                <c:pt idx="130">
                  <c:v>45492</c:v>
                </c:pt>
                <c:pt idx="131">
                  <c:v>45491</c:v>
                </c:pt>
                <c:pt idx="132">
                  <c:v>45490</c:v>
                </c:pt>
                <c:pt idx="133">
                  <c:v>45489</c:v>
                </c:pt>
                <c:pt idx="134">
                  <c:v>45488</c:v>
                </c:pt>
                <c:pt idx="135">
                  <c:v>45485</c:v>
                </c:pt>
                <c:pt idx="136">
                  <c:v>45484</c:v>
                </c:pt>
                <c:pt idx="137">
                  <c:v>45483</c:v>
                </c:pt>
                <c:pt idx="138">
                  <c:v>45482</c:v>
                </c:pt>
                <c:pt idx="139">
                  <c:v>45481</c:v>
                </c:pt>
                <c:pt idx="140">
                  <c:v>45478</c:v>
                </c:pt>
                <c:pt idx="141">
                  <c:v>45477</c:v>
                </c:pt>
                <c:pt idx="142">
                  <c:v>45476</c:v>
                </c:pt>
                <c:pt idx="143">
                  <c:v>45475</c:v>
                </c:pt>
                <c:pt idx="144">
                  <c:v>45474</c:v>
                </c:pt>
                <c:pt idx="145">
                  <c:v>45471</c:v>
                </c:pt>
                <c:pt idx="146">
                  <c:v>45470</c:v>
                </c:pt>
                <c:pt idx="147">
                  <c:v>45469</c:v>
                </c:pt>
                <c:pt idx="148">
                  <c:v>45468</c:v>
                </c:pt>
                <c:pt idx="149">
                  <c:v>45467</c:v>
                </c:pt>
                <c:pt idx="150">
                  <c:v>45464</c:v>
                </c:pt>
                <c:pt idx="151">
                  <c:v>45463</c:v>
                </c:pt>
                <c:pt idx="152">
                  <c:v>45462</c:v>
                </c:pt>
                <c:pt idx="153">
                  <c:v>45461</c:v>
                </c:pt>
                <c:pt idx="154">
                  <c:v>45460</c:v>
                </c:pt>
                <c:pt idx="155">
                  <c:v>45457</c:v>
                </c:pt>
                <c:pt idx="156">
                  <c:v>45456</c:v>
                </c:pt>
                <c:pt idx="157">
                  <c:v>45455</c:v>
                </c:pt>
                <c:pt idx="158">
                  <c:v>45454</c:v>
                </c:pt>
                <c:pt idx="159">
                  <c:v>45453</c:v>
                </c:pt>
                <c:pt idx="160">
                  <c:v>45450</c:v>
                </c:pt>
                <c:pt idx="161">
                  <c:v>45449</c:v>
                </c:pt>
                <c:pt idx="162">
                  <c:v>45448</c:v>
                </c:pt>
                <c:pt idx="163">
                  <c:v>45447</c:v>
                </c:pt>
                <c:pt idx="164">
                  <c:v>45446</c:v>
                </c:pt>
                <c:pt idx="165">
                  <c:v>45444</c:v>
                </c:pt>
                <c:pt idx="166">
                  <c:v>45442</c:v>
                </c:pt>
                <c:pt idx="167">
                  <c:v>45441</c:v>
                </c:pt>
                <c:pt idx="168">
                  <c:v>45440</c:v>
                </c:pt>
                <c:pt idx="169">
                  <c:v>45439</c:v>
                </c:pt>
                <c:pt idx="170">
                  <c:v>45436</c:v>
                </c:pt>
                <c:pt idx="171">
                  <c:v>45435</c:v>
                </c:pt>
                <c:pt idx="172">
                  <c:v>45434</c:v>
                </c:pt>
                <c:pt idx="173">
                  <c:v>45433</c:v>
                </c:pt>
                <c:pt idx="174">
                  <c:v>45432</c:v>
                </c:pt>
                <c:pt idx="175">
                  <c:v>45429</c:v>
                </c:pt>
                <c:pt idx="176">
                  <c:v>45428</c:v>
                </c:pt>
                <c:pt idx="177">
                  <c:v>45427</c:v>
                </c:pt>
                <c:pt idx="178">
                  <c:v>45426</c:v>
                </c:pt>
                <c:pt idx="179">
                  <c:v>45425</c:v>
                </c:pt>
                <c:pt idx="180">
                  <c:v>45422</c:v>
                </c:pt>
                <c:pt idx="181">
                  <c:v>45421</c:v>
                </c:pt>
                <c:pt idx="182">
                  <c:v>45420</c:v>
                </c:pt>
                <c:pt idx="183">
                  <c:v>45419</c:v>
                </c:pt>
                <c:pt idx="184">
                  <c:v>45418</c:v>
                </c:pt>
                <c:pt idx="185">
                  <c:v>45415</c:v>
                </c:pt>
                <c:pt idx="186">
                  <c:v>45414</c:v>
                </c:pt>
                <c:pt idx="187">
                  <c:v>45413</c:v>
                </c:pt>
                <c:pt idx="188">
                  <c:v>45412</c:v>
                </c:pt>
                <c:pt idx="189">
                  <c:v>45411</c:v>
                </c:pt>
                <c:pt idx="190">
                  <c:v>45408</c:v>
                </c:pt>
                <c:pt idx="191">
                  <c:v>45407</c:v>
                </c:pt>
                <c:pt idx="192">
                  <c:v>45406</c:v>
                </c:pt>
                <c:pt idx="193">
                  <c:v>45405</c:v>
                </c:pt>
                <c:pt idx="194">
                  <c:v>45404</c:v>
                </c:pt>
                <c:pt idx="195">
                  <c:v>45401</c:v>
                </c:pt>
                <c:pt idx="196">
                  <c:v>45400</c:v>
                </c:pt>
                <c:pt idx="197">
                  <c:v>45399</c:v>
                </c:pt>
                <c:pt idx="198">
                  <c:v>45398</c:v>
                </c:pt>
                <c:pt idx="199">
                  <c:v>45397</c:v>
                </c:pt>
                <c:pt idx="200">
                  <c:v>45394</c:v>
                </c:pt>
                <c:pt idx="201">
                  <c:v>45393</c:v>
                </c:pt>
                <c:pt idx="202">
                  <c:v>45392</c:v>
                </c:pt>
              </c:numCache>
            </c:numRef>
          </c:cat>
          <c:val>
            <c:numRef>
              <c:f>Euribor!$C$15:$C$232</c:f>
              <c:numCache>
                <c:formatCode>General</c:formatCode>
                <c:ptCount val="218"/>
                <c:pt idx="0">
                  <c:v>2.7040000000000002</c:v>
                </c:pt>
                <c:pt idx="1">
                  <c:v>2.7440000000000002</c:v>
                </c:pt>
                <c:pt idx="2">
                  <c:v>2.7480000000000002</c:v>
                </c:pt>
                <c:pt idx="3">
                  <c:v>2.7610000000000001</c:v>
                </c:pt>
                <c:pt idx="4">
                  <c:v>2.7850000000000001</c:v>
                </c:pt>
                <c:pt idx="5">
                  <c:v>2.766</c:v>
                </c:pt>
                <c:pt idx="6">
                  <c:v>2.7890000000000001</c:v>
                </c:pt>
                <c:pt idx="7">
                  <c:v>2.782</c:v>
                </c:pt>
                <c:pt idx="8">
                  <c:v>2.7850000000000001</c:v>
                </c:pt>
                <c:pt idx="9">
                  <c:v>2.7570000000000001</c:v>
                </c:pt>
                <c:pt idx="10">
                  <c:v>2.7309999999999999</c:v>
                </c:pt>
                <c:pt idx="11">
                  <c:v>2.7360000000000002</c:v>
                </c:pt>
                <c:pt idx="12">
                  <c:v>2.714</c:v>
                </c:pt>
                <c:pt idx="13">
                  <c:v>2.714</c:v>
                </c:pt>
                <c:pt idx="14">
                  <c:v>2.6779999999999999</c:v>
                </c:pt>
                <c:pt idx="15">
                  <c:v>2.6829999999999998</c:v>
                </c:pt>
                <c:pt idx="16">
                  <c:v>2.7149999999999999</c:v>
                </c:pt>
                <c:pt idx="17">
                  <c:v>2.7149999999999999</c:v>
                </c:pt>
                <c:pt idx="18">
                  <c:v>2.7149999999999999</c:v>
                </c:pt>
                <c:pt idx="19">
                  <c:v>2.7309999999999999</c:v>
                </c:pt>
                <c:pt idx="20">
                  <c:v>2.7320000000000002</c:v>
                </c:pt>
                <c:pt idx="21">
                  <c:v>2.839</c:v>
                </c:pt>
                <c:pt idx="22">
                  <c:v>2.8519999999999999</c:v>
                </c:pt>
                <c:pt idx="23">
                  <c:v>2.8650000000000002</c:v>
                </c:pt>
                <c:pt idx="24">
                  <c:v>2.863</c:v>
                </c:pt>
                <c:pt idx="25">
                  <c:v>2.8479999999999999</c:v>
                </c:pt>
                <c:pt idx="26">
                  <c:v>2.8860000000000001</c:v>
                </c:pt>
                <c:pt idx="27">
                  <c:v>2.8879999999999999</c:v>
                </c:pt>
                <c:pt idx="28">
                  <c:v>2.8719999999999999</c:v>
                </c:pt>
                <c:pt idx="29">
                  <c:v>2.8620000000000001</c:v>
                </c:pt>
                <c:pt idx="30">
                  <c:v>2.8679999999999999</c:v>
                </c:pt>
                <c:pt idx="31">
                  <c:v>2.8809999999999998</c:v>
                </c:pt>
                <c:pt idx="32">
                  <c:v>2.8769999999999998</c:v>
                </c:pt>
                <c:pt idx="33">
                  <c:v>2.879</c:v>
                </c:pt>
                <c:pt idx="34">
                  <c:v>2.9239999999999999</c:v>
                </c:pt>
                <c:pt idx="35">
                  <c:v>2.9340000000000002</c:v>
                </c:pt>
                <c:pt idx="36">
                  <c:v>2.9390000000000001</c:v>
                </c:pt>
                <c:pt idx="37">
                  <c:v>2.9119999999999999</c:v>
                </c:pt>
                <c:pt idx="38">
                  <c:v>2.8980000000000001</c:v>
                </c:pt>
                <c:pt idx="39">
                  <c:v>2.9849999999999999</c:v>
                </c:pt>
                <c:pt idx="40">
                  <c:v>3.0219999999999998</c:v>
                </c:pt>
                <c:pt idx="41">
                  <c:v>3.0049999999999999</c:v>
                </c:pt>
                <c:pt idx="42">
                  <c:v>3</c:v>
                </c:pt>
                <c:pt idx="43">
                  <c:v>3.0129999999999999</c:v>
                </c:pt>
                <c:pt idx="44">
                  <c:v>3.004</c:v>
                </c:pt>
                <c:pt idx="45">
                  <c:v>2.9980000000000002</c:v>
                </c:pt>
                <c:pt idx="46">
                  <c:v>3.0049999999999999</c:v>
                </c:pt>
                <c:pt idx="47">
                  <c:v>3.0230000000000001</c:v>
                </c:pt>
                <c:pt idx="48">
                  <c:v>3.0339999999999998</c:v>
                </c:pt>
                <c:pt idx="49">
                  <c:v>3.04</c:v>
                </c:pt>
                <c:pt idx="50">
                  <c:v>3.032</c:v>
                </c:pt>
                <c:pt idx="51">
                  <c:v>3.032</c:v>
                </c:pt>
                <c:pt idx="52">
                  <c:v>3.0489999999999999</c:v>
                </c:pt>
                <c:pt idx="53">
                  <c:v>3.0569999999999999</c:v>
                </c:pt>
                <c:pt idx="54">
                  <c:v>3.0750000000000002</c:v>
                </c:pt>
                <c:pt idx="55">
                  <c:v>3.085</c:v>
                </c:pt>
                <c:pt idx="56">
                  <c:v>3.0619999999999998</c:v>
                </c:pt>
                <c:pt idx="57">
                  <c:v>3.056</c:v>
                </c:pt>
                <c:pt idx="58">
                  <c:v>3.056</c:v>
                </c:pt>
                <c:pt idx="59">
                  <c:v>3.052</c:v>
                </c:pt>
                <c:pt idx="60">
                  <c:v>3.0590000000000002</c:v>
                </c:pt>
                <c:pt idx="61">
                  <c:v>3.0720000000000001</c:v>
                </c:pt>
                <c:pt idx="62">
                  <c:v>3.0859999999999999</c:v>
                </c:pt>
                <c:pt idx="63">
                  <c:v>3.0979999999999999</c:v>
                </c:pt>
                <c:pt idx="64">
                  <c:v>3.1379999999999999</c:v>
                </c:pt>
                <c:pt idx="65">
                  <c:v>3.2010000000000001</c:v>
                </c:pt>
                <c:pt idx="66">
                  <c:v>3.2189999999999999</c:v>
                </c:pt>
                <c:pt idx="67">
                  <c:v>3.2080000000000002</c:v>
                </c:pt>
                <c:pt idx="68">
                  <c:v>3.2149999999999999</c:v>
                </c:pt>
                <c:pt idx="69">
                  <c:v>3.2050000000000001</c:v>
                </c:pt>
                <c:pt idx="70">
                  <c:v>3.1789999999999998</c:v>
                </c:pt>
                <c:pt idx="71">
                  <c:v>3.1840000000000002</c:v>
                </c:pt>
                <c:pt idx="72">
                  <c:v>3.2229999999999999</c:v>
                </c:pt>
                <c:pt idx="73">
                  <c:v>3.2650000000000001</c:v>
                </c:pt>
                <c:pt idx="74">
                  <c:v>3.2679999999999998</c:v>
                </c:pt>
                <c:pt idx="75">
                  <c:v>3.25</c:v>
                </c:pt>
                <c:pt idx="76">
                  <c:v>3.238</c:v>
                </c:pt>
                <c:pt idx="77">
                  <c:v>3.246</c:v>
                </c:pt>
                <c:pt idx="78">
                  <c:v>3.2519999999999998</c:v>
                </c:pt>
                <c:pt idx="79">
                  <c:v>3.2789999999999999</c:v>
                </c:pt>
                <c:pt idx="80">
                  <c:v>3.3260000000000001</c:v>
                </c:pt>
                <c:pt idx="81">
                  <c:v>3.3450000000000002</c:v>
                </c:pt>
                <c:pt idx="82">
                  <c:v>3.3519999999999999</c:v>
                </c:pt>
                <c:pt idx="83">
                  <c:v>3.4020000000000001</c:v>
                </c:pt>
                <c:pt idx="84">
                  <c:v>3.431</c:v>
                </c:pt>
                <c:pt idx="85">
                  <c:v>3.43</c:v>
                </c:pt>
                <c:pt idx="86">
                  <c:v>3.45</c:v>
                </c:pt>
                <c:pt idx="87">
                  <c:v>3.4580000000000002</c:v>
                </c:pt>
                <c:pt idx="88">
                  <c:v>3.48</c:v>
                </c:pt>
                <c:pt idx="89">
                  <c:v>3.488</c:v>
                </c:pt>
                <c:pt idx="90">
                  <c:v>3.472</c:v>
                </c:pt>
                <c:pt idx="91">
                  <c:v>3.4809999999999999</c:v>
                </c:pt>
                <c:pt idx="92">
                  <c:v>3.4670000000000001</c:v>
                </c:pt>
                <c:pt idx="93">
                  <c:v>3.46</c:v>
                </c:pt>
                <c:pt idx="94">
                  <c:v>3.4620000000000002</c:v>
                </c:pt>
                <c:pt idx="95">
                  <c:v>3.468</c:v>
                </c:pt>
                <c:pt idx="96">
                  <c:v>3.47</c:v>
                </c:pt>
                <c:pt idx="97">
                  <c:v>3.4489999999999998</c:v>
                </c:pt>
                <c:pt idx="98">
                  <c:v>3.4580000000000002</c:v>
                </c:pt>
                <c:pt idx="99">
                  <c:v>3.4689999999999999</c:v>
                </c:pt>
                <c:pt idx="100">
                  <c:v>3.49</c:v>
                </c:pt>
                <c:pt idx="101">
                  <c:v>3.5049999999999999</c:v>
                </c:pt>
                <c:pt idx="102">
                  <c:v>3.5049999999999999</c:v>
                </c:pt>
                <c:pt idx="103">
                  <c:v>3.5150000000000001</c:v>
                </c:pt>
                <c:pt idx="104">
                  <c:v>3.5230000000000001</c:v>
                </c:pt>
                <c:pt idx="105">
                  <c:v>3.5249999999999999</c:v>
                </c:pt>
                <c:pt idx="106">
                  <c:v>3.5409999999999999</c:v>
                </c:pt>
                <c:pt idx="107">
                  <c:v>3.5419999999999998</c:v>
                </c:pt>
                <c:pt idx="108">
                  <c:v>3.5379999999999998</c:v>
                </c:pt>
                <c:pt idx="109">
                  <c:v>3.5510000000000002</c:v>
                </c:pt>
                <c:pt idx="110">
                  <c:v>3.56</c:v>
                </c:pt>
                <c:pt idx="111">
                  <c:v>3.5489999999999999</c:v>
                </c:pt>
                <c:pt idx="112">
                  <c:v>3.5419999999999998</c:v>
                </c:pt>
                <c:pt idx="113">
                  <c:v>3.5419999999999998</c:v>
                </c:pt>
                <c:pt idx="114">
                  <c:v>3.548</c:v>
                </c:pt>
                <c:pt idx="115">
                  <c:v>3.5569999999999999</c:v>
                </c:pt>
                <c:pt idx="116">
                  <c:v>3.577</c:v>
                </c:pt>
                <c:pt idx="117">
                  <c:v>3.569</c:v>
                </c:pt>
                <c:pt idx="118">
                  <c:v>3.5230000000000001</c:v>
                </c:pt>
                <c:pt idx="119">
                  <c:v>3.5840000000000001</c:v>
                </c:pt>
                <c:pt idx="120">
                  <c:v>3.62</c:v>
                </c:pt>
                <c:pt idx="121">
                  <c:v>3.6379999999999999</c:v>
                </c:pt>
                <c:pt idx="122">
                  <c:v>3.6469999999999998</c:v>
                </c:pt>
                <c:pt idx="123">
                  <c:v>3.6309999999999998</c:v>
                </c:pt>
                <c:pt idx="124">
                  <c:v>3.6360000000000001</c:v>
                </c:pt>
                <c:pt idx="125">
                  <c:v>3.65</c:v>
                </c:pt>
                <c:pt idx="126">
                  <c:v>3.68</c:v>
                </c:pt>
                <c:pt idx="127" formatCode="0.00">
                  <c:v>3.698</c:v>
                </c:pt>
                <c:pt idx="128">
                  <c:v>3.6850000000000001</c:v>
                </c:pt>
                <c:pt idx="129">
                  <c:v>3.7050000000000001</c:v>
                </c:pt>
                <c:pt idx="130">
                  <c:v>3.698</c:v>
                </c:pt>
                <c:pt idx="131">
                  <c:v>3.6880000000000002</c:v>
                </c:pt>
                <c:pt idx="132">
                  <c:v>3.6779999999999999</c:v>
                </c:pt>
                <c:pt idx="133">
                  <c:v>3.6739999999999999</c:v>
                </c:pt>
                <c:pt idx="134">
                  <c:v>3.6619999999999999</c:v>
                </c:pt>
                <c:pt idx="135">
                  <c:v>3.6640000000000001</c:v>
                </c:pt>
                <c:pt idx="136">
                  <c:v>3.6850000000000001</c:v>
                </c:pt>
                <c:pt idx="137">
                  <c:v>3.7040000000000002</c:v>
                </c:pt>
                <c:pt idx="138">
                  <c:v>3.7080000000000002</c:v>
                </c:pt>
                <c:pt idx="139">
                  <c:v>3.6989999999999998</c:v>
                </c:pt>
                <c:pt idx="140" formatCode="0.000">
                  <c:v>3.7120000000000002</c:v>
                </c:pt>
                <c:pt idx="141" formatCode="0.000">
                  <c:v>3.7080000000000002</c:v>
                </c:pt>
                <c:pt idx="142" formatCode="0.000">
                  <c:v>3.7050000000000001</c:v>
                </c:pt>
                <c:pt idx="143" formatCode="0.000">
                  <c:v>3.714</c:v>
                </c:pt>
                <c:pt idx="144" formatCode="0.000">
                  <c:v>3.7090000000000001</c:v>
                </c:pt>
                <c:pt idx="145" formatCode="0.000">
                  <c:v>3.71</c:v>
                </c:pt>
                <c:pt idx="146">
                  <c:v>3.6949999999999998</c:v>
                </c:pt>
                <c:pt idx="147">
                  <c:v>3.72</c:v>
                </c:pt>
                <c:pt idx="148">
                  <c:v>3.698</c:v>
                </c:pt>
                <c:pt idx="149">
                  <c:v>3.6819999999999999</c:v>
                </c:pt>
                <c:pt idx="150">
                  <c:v>3.6859999999999999</c:v>
                </c:pt>
                <c:pt idx="151">
                  <c:v>3.7</c:v>
                </c:pt>
                <c:pt idx="152">
                  <c:v>3.71</c:v>
                </c:pt>
                <c:pt idx="153">
                  <c:v>3.72</c:v>
                </c:pt>
                <c:pt idx="154">
                  <c:v>3.7109999999999999</c:v>
                </c:pt>
                <c:pt idx="155">
                  <c:v>3.7149999999999999</c:v>
                </c:pt>
                <c:pt idx="156">
                  <c:v>3.7189999999999999</c:v>
                </c:pt>
                <c:pt idx="157">
                  <c:v>3.72</c:v>
                </c:pt>
                <c:pt idx="158">
                  <c:v>3.7389999999999999</c:v>
                </c:pt>
                <c:pt idx="159">
                  <c:v>3.7429999999999999</c:v>
                </c:pt>
                <c:pt idx="160">
                  <c:v>3.7589999999999999</c:v>
                </c:pt>
                <c:pt idx="161">
                  <c:v>3.7549999999999999</c:v>
                </c:pt>
                <c:pt idx="162">
                  <c:v>3.7519999999999998</c:v>
                </c:pt>
                <c:pt idx="163">
                  <c:v>3.7719999999999998</c:v>
                </c:pt>
                <c:pt idx="164">
                  <c:v>3.782</c:v>
                </c:pt>
                <c:pt idx="165">
                  <c:v>3.7850000000000001</c:v>
                </c:pt>
                <c:pt idx="166">
                  <c:v>3.7879999999999998</c:v>
                </c:pt>
                <c:pt idx="167">
                  <c:v>3.794</c:v>
                </c:pt>
                <c:pt idx="168">
                  <c:v>3.7850000000000001</c:v>
                </c:pt>
                <c:pt idx="169">
                  <c:v>3.8</c:v>
                </c:pt>
                <c:pt idx="170">
                  <c:v>3.8079999999999998</c:v>
                </c:pt>
                <c:pt idx="171">
                  <c:v>3.8010000000000002</c:v>
                </c:pt>
                <c:pt idx="172">
                  <c:v>3.819</c:v>
                </c:pt>
                <c:pt idx="173">
                  <c:v>3.823</c:v>
                </c:pt>
                <c:pt idx="174">
                  <c:v>3.8220000000000001</c:v>
                </c:pt>
                <c:pt idx="175">
                  <c:v>3.83</c:v>
                </c:pt>
                <c:pt idx="176">
                  <c:v>3.8260000000000001</c:v>
                </c:pt>
                <c:pt idx="177">
                  <c:v>3.8159999999999998</c:v>
                </c:pt>
                <c:pt idx="178">
                  <c:v>3.8239999999999998</c:v>
                </c:pt>
                <c:pt idx="179">
                  <c:v>3.8279999999999998</c:v>
                </c:pt>
                <c:pt idx="180">
                  <c:v>3.8180000000000001</c:v>
                </c:pt>
                <c:pt idx="181">
                  <c:v>3.806</c:v>
                </c:pt>
                <c:pt idx="182">
                  <c:v>3.8140000000000001</c:v>
                </c:pt>
                <c:pt idx="183">
                  <c:v>3.7879999999999998</c:v>
                </c:pt>
                <c:pt idx="184">
                  <c:v>3.8239999999999998</c:v>
                </c:pt>
                <c:pt idx="185">
                  <c:v>3.827</c:v>
                </c:pt>
                <c:pt idx="186">
                  <c:v>3.8530000000000002</c:v>
                </c:pt>
                <c:pt idx="187">
                  <c:v>3.8250000000000002</c:v>
                </c:pt>
                <c:pt idx="188">
                  <c:v>3.8250000000000002</c:v>
                </c:pt>
                <c:pt idx="189">
                  <c:v>3.835</c:v>
                </c:pt>
                <c:pt idx="190">
                  <c:v>3.8650000000000002</c:v>
                </c:pt>
                <c:pt idx="191">
                  <c:v>3.8639999999999999</c:v>
                </c:pt>
                <c:pt idx="192">
                  <c:v>3.879</c:v>
                </c:pt>
                <c:pt idx="193">
                  <c:v>3.8820000000000001</c:v>
                </c:pt>
                <c:pt idx="194">
                  <c:v>3.891</c:v>
                </c:pt>
                <c:pt idx="195">
                  <c:v>3.8919999999999999</c:v>
                </c:pt>
                <c:pt idx="196">
                  <c:v>3.8969999999999998</c:v>
                </c:pt>
                <c:pt idx="197">
                  <c:v>3.895</c:v>
                </c:pt>
                <c:pt idx="198">
                  <c:v>3.9039999999999999</c:v>
                </c:pt>
                <c:pt idx="199">
                  <c:v>3.8879999999999999</c:v>
                </c:pt>
                <c:pt idx="200">
                  <c:v>3.923</c:v>
                </c:pt>
                <c:pt idx="201">
                  <c:v>3.9060000000000001</c:v>
                </c:pt>
                <c:pt idx="202">
                  <c:v>3.9119999999999999</c:v>
                </c:pt>
                <c:pt idx="203">
                  <c:v>3.9159999999999999</c:v>
                </c:pt>
                <c:pt idx="204">
                  <c:v>3.9020000000000001</c:v>
                </c:pt>
                <c:pt idx="205">
                  <c:v>3.8849999999999998</c:v>
                </c:pt>
                <c:pt idx="206">
                  <c:v>3.891</c:v>
                </c:pt>
                <c:pt idx="207">
                  <c:v>3.8570000000000002</c:v>
                </c:pt>
                <c:pt idx="208">
                  <c:v>3.883</c:v>
                </c:pt>
                <c:pt idx="209">
                  <c:v>3.8919999999999999</c:v>
                </c:pt>
                <c:pt idx="210">
                  <c:v>3.8919999999999999</c:v>
                </c:pt>
                <c:pt idx="211">
                  <c:v>3.8919999999999999</c:v>
                </c:pt>
                <c:pt idx="212">
                  <c:v>3.9079999999999999</c:v>
                </c:pt>
                <c:pt idx="213">
                  <c:v>3.9020000000000001</c:v>
                </c:pt>
                <c:pt idx="214">
                  <c:v>3.8860000000000001</c:v>
                </c:pt>
                <c:pt idx="215">
                  <c:v>3.903</c:v>
                </c:pt>
                <c:pt idx="216">
                  <c:v>3.9260000000000002</c:v>
                </c:pt>
                <c:pt idx="217">
                  <c:v>3.922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02-43D4-8B5E-F05FB14305A8}"/>
            </c:ext>
          </c:extLst>
        </c:ser>
        <c:ser>
          <c:idx val="1"/>
          <c:order val="1"/>
          <c:tx>
            <c:strRef>
              <c:f>Euribor!$D$1</c:f>
              <c:strCache>
                <c:ptCount val="1"/>
                <c:pt idx="0">
                  <c:v>6-месячный</c:v>
                </c:pt>
              </c:strCache>
            </c:strRef>
          </c:tx>
          <c:spPr>
            <a:ln w="28575" cap="rnd">
              <a:solidFill>
                <a:srgbClr val="9B6BF2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dLbls>
            <c:dLbl>
              <c:idx val="20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B02-43D4-8B5E-F05FB14305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030A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Euribor!$A$15:$B$217</c:f>
              <c:numCache>
                <c:formatCode>m/d/yyyy</c:formatCode>
                <c:ptCount val="203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7</c:v>
                </c:pt>
                <c:pt idx="6">
                  <c:v>45666</c:v>
                </c:pt>
                <c:pt idx="7">
                  <c:v>45665</c:v>
                </c:pt>
                <c:pt idx="8">
                  <c:v>45664</c:v>
                </c:pt>
                <c:pt idx="9">
                  <c:v>45663</c:v>
                </c:pt>
                <c:pt idx="10">
                  <c:v>45660</c:v>
                </c:pt>
                <c:pt idx="11">
                  <c:v>45659</c:v>
                </c:pt>
                <c:pt idx="12">
                  <c:v>45658</c:v>
                </c:pt>
                <c:pt idx="13">
                  <c:v>45657</c:v>
                </c:pt>
                <c:pt idx="14">
                  <c:v>45656</c:v>
                </c:pt>
                <c:pt idx="15">
                  <c:v>45653</c:v>
                </c:pt>
                <c:pt idx="16">
                  <c:v>45652</c:v>
                </c:pt>
                <c:pt idx="17">
                  <c:v>45651</c:v>
                </c:pt>
                <c:pt idx="18">
                  <c:v>45650</c:v>
                </c:pt>
                <c:pt idx="19">
                  <c:v>45649</c:v>
                </c:pt>
                <c:pt idx="20">
                  <c:v>45646</c:v>
                </c:pt>
                <c:pt idx="21">
                  <c:v>45645</c:v>
                </c:pt>
                <c:pt idx="22">
                  <c:v>45644</c:v>
                </c:pt>
                <c:pt idx="23">
                  <c:v>45643</c:v>
                </c:pt>
                <c:pt idx="24">
                  <c:v>45642</c:v>
                </c:pt>
                <c:pt idx="25">
                  <c:v>45639</c:v>
                </c:pt>
                <c:pt idx="26">
                  <c:v>45638</c:v>
                </c:pt>
                <c:pt idx="27">
                  <c:v>45637</c:v>
                </c:pt>
                <c:pt idx="28">
                  <c:v>45636</c:v>
                </c:pt>
                <c:pt idx="29">
                  <c:v>45635</c:v>
                </c:pt>
                <c:pt idx="30">
                  <c:v>45632</c:v>
                </c:pt>
                <c:pt idx="31">
                  <c:v>45631</c:v>
                </c:pt>
                <c:pt idx="32">
                  <c:v>45630</c:v>
                </c:pt>
                <c:pt idx="33">
                  <c:v>45629</c:v>
                </c:pt>
                <c:pt idx="34">
                  <c:v>45628</c:v>
                </c:pt>
                <c:pt idx="35">
                  <c:v>45625</c:v>
                </c:pt>
                <c:pt idx="36">
                  <c:v>45624</c:v>
                </c:pt>
                <c:pt idx="37">
                  <c:v>45623</c:v>
                </c:pt>
                <c:pt idx="38">
                  <c:v>45622</c:v>
                </c:pt>
                <c:pt idx="39">
                  <c:v>45621</c:v>
                </c:pt>
                <c:pt idx="40">
                  <c:v>45618</c:v>
                </c:pt>
                <c:pt idx="41">
                  <c:v>45617</c:v>
                </c:pt>
                <c:pt idx="42">
                  <c:v>45616</c:v>
                </c:pt>
                <c:pt idx="43">
                  <c:v>45615</c:v>
                </c:pt>
                <c:pt idx="44">
                  <c:v>45614</c:v>
                </c:pt>
                <c:pt idx="45">
                  <c:v>45611</c:v>
                </c:pt>
                <c:pt idx="46">
                  <c:v>45610</c:v>
                </c:pt>
                <c:pt idx="47">
                  <c:v>45609</c:v>
                </c:pt>
                <c:pt idx="48">
                  <c:v>45608</c:v>
                </c:pt>
                <c:pt idx="49">
                  <c:v>45607</c:v>
                </c:pt>
                <c:pt idx="50">
                  <c:v>45604</c:v>
                </c:pt>
                <c:pt idx="51">
                  <c:v>45603</c:v>
                </c:pt>
                <c:pt idx="52">
                  <c:v>45602</c:v>
                </c:pt>
                <c:pt idx="53">
                  <c:v>45601</c:v>
                </c:pt>
                <c:pt idx="54">
                  <c:v>45600</c:v>
                </c:pt>
                <c:pt idx="55">
                  <c:v>45597</c:v>
                </c:pt>
                <c:pt idx="56">
                  <c:v>45596</c:v>
                </c:pt>
                <c:pt idx="57">
                  <c:v>45595</c:v>
                </c:pt>
                <c:pt idx="58">
                  <c:v>45594</c:v>
                </c:pt>
                <c:pt idx="59">
                  <c:v>45593</c:v>
                </c:pt>
                <c:pt idx="60">
                  <c:v>45590</c:v>
                </c:pt>
                <c:pt idx="61">
                  <c:v>45589</c:v>
                </c:pt>
                <c:pt idx="62">
                  <c:v>45588</c:v>
                </c:pt>
                <c:pt idx="63">
                  <c:v>45587</c:v>
                </c:pt>
                <c:pt idx="64">
                  <c:v>45586</c:v>
                </c:pt>
                <c:pt idx="65">
                  <c:v>45583</c:v>
                </c:pt>
                <c:pt idx="66">
                  <c:v>45582</c:v>
                </c:pt>
                <c:pt idx="67">
                  <c:v>45581</c:v>
                </c:pt>
                <c:pt idx="68">
                  <c:v>45580</c:v>
                </c:pt>
                <c:pt idx="69">
                  <c:v>45579</c:v>
                </c:pt>
                <c:pt idx="70">
                  <c:v>45576</c:v>
                </c:pt>
                <c:pt idx="71">
                  <c:v>45575</c:v>
                </c:pt>
                <c:pt idx="72">
                  <c:v>45574</c:v>
                </c:pt>
                <c:pt idx="73">
                  <c:v>45573</c:v>
                </c:pt>
                <c:pt idx="74">
                  <c:v>45572</c:v>
                </c:pt>
                <c:pt idx="75">
                  <c:v>45569</c:v>
                </c:pt>
                <c:pt idx="76">
                  <c:v>45568</c:v>
                </c:pt>
                <c:pt idx="77">
                  <c:v>45567</c:v>
                </c:pt>
                <c:pt idx="78">
                  <c:v>45566</c:v>
                </c:pt>
                <c:pt idx="79">
                  <c:v>45565</c:v>
                </c:pt>
                <c:pt idx="80">
                  <c:v>45562</c:v>
                </c:pt>
                <c:pt idx="81">
                  <c:v>45561</c:v>
                </c:pt>
                <c:pt idx="82">
                  <c:v>45560</c:v>
                </c:pt>
                <c:pt idx="83">
                  <c:v>45559</c:v>
                </c:pt>
                <c:pt idx="84">
                  <c:v>45558</c:v>
                </c:pt>
                <c:pt idx="85">
                  <c:v>45555</c:v>
                </c:pt>
                <c:pt idx="86">
                  <c:v>45554</c:v>
                </c:pt>
                <c:pt idx="87">
                  <c:v>45553</c:v>
                </c:pt>
                <c:pt idx="88">
                  <c:v>45552</c:v>
                </c:pt>
                <c:pt idx="89">
                  <c:v>45551</c:v>
                </c:pt>
                <c:pt idx="90">
                  <c:v>45548</c:v>
                </c:pt>
                <c:pt idx="91">
                  <c:v>45547</c:v>
                </c:pt>
                <c:pt idx="92">
                  <c:v>45546</c:v>
                </c:pt>
                <c:pt idx="93">
                  <c:v>45545</c:v>
                </c:pt>
                <c:pt idx="94">
                  <c:v>45544</c:v>
                </c:pt>
                <c:pt idx="95">
                  <c:v>45541</c:v>
                </c:pt>
                <c:pt idx="96">
                  <c:v>45540</c:v>
                </c:pt>
                <c:pt idx="97">
                  <c:v>45539</c:v>
                </c:pt>
                <c:pt idx="98">
                  <c:v>45538</c:v>
                </c:pt>
                <c:pt idx="99">
                  <c:v>45537</c:v>
                </c:pt>
                <c:pt idx="100">
                  <c:v>45534</c:v>
                </c:pt>
                <c:pt idx="101">
                  <c:v>45533</c:v>
                </c:pt>
                <c:pt idx="102">
                  <c:v>45532</c:v>
                </c:pt>
                <c:pt idx="103">
                  <c:v>45531</c:v>
                </c:pt>
                <c:pt idx="104">
                  <c:v>45530</c:v>
                </c:pt>
                <c:pt idx="105">
                  <c:v>45527</c:v>
                </c:pt>
                <c:pt idx="106">
                  <c:v>45526</c:v>
                </c:pt>
                <c:pt idx="107">
                  <c:v>45525</c:v>
                </c:pt>
                <c:pt idx="108">
                  <c:v>45524</c:v>
                </c:pt>
                <c:pt idx="109">
                  <c:v>45523</c:v>
                </c:pt>
                <c:pt idx="110">
                  <c:v>45520</c:v>
                </c:pt>
                <c:pt idx="111">
                  <c:v>45519</c:v>
                </c:pt>
                <c:pt idx="112">
                  <c:v>45518</c:v>
                </c:pt>
                <c:pt idx="113">
                  <c:v>45517</c:v>
                </c:pt>
                <c:pt idx="114">
                  <c:v>45516</c:v>
                </c:pt>
                <c:pt idx="115">
                  <c:v>45513</c:v>
                </c:pt>
                <c:pt idx="116">
                  <c:v>45512</c:v>
                </c:pt>
                <c:pt idx="117">
                  <c:v>45511</c:v>
                </c:pt>
                <c:pt idx="118">
                  <c:v>45510</c:v>
                </c:pt>
                <c:pt idx="119">
                  <c:v>45509</c:v>
                </c:pt>
                <c:pt idx="120">
                  <c:v>45506</c:v>
                </c:pt>
                <c:pt idx="121">
                  <c:v>45505</c:v>
                </c:pt>
                <c:pt idx="122">
                  <c:v>45504</c:v>
                </c:pt>
                <c:pt idx="123">
                  <c:v>45503</c:v>
                </c:pt>
                <c:pt idx="124">
                  <c:v>45502</c:v>
                </c:pt>
                <c:pt idx="125">
                  <c:v>45499</c:v>
                </c:pt>
                <c:pt idx="126">
                  <c:v>45498</c:v>
                </c:pt>
                <c:pt idx="127">
                  <c:v>45497</c:v>
                </c:pt>
                <c:pt idx="128">
                  <c:v>45496</c:v>
                </c:pt>
                <c:pt idx="129">
                  <c:v>45495</c:v>
                </c:pt>
                <c:pt idx="130">
                  <c:v>45492</c:v>
                </c:pt>
                <c:pt idx="131">
                  <c:v>45491</c:v>
                </c:pt>
                <c:pt idx="132">
                  <c:v>45490</c:v>
                </c:pt>
                <c:pt idx="133">
                  <c:v>45489</c:v>
                </c:pt>
                <c:pt idx="134">
                  <c:v>45488</c:v>
                </c:pt>
                <c:pt idx="135">
                  <c:v>45485</c:v>
                </c:pt>
                <c:pt idx="136">
                  <c:v>45484</c:v>
                </c:pt>
                <c:pt idx="137">
                  <c:v>45483</c:v>
                </c:pt>
                <c:pt idx="138">
                  <c:v>45482</c:v>
                </c:pt>
                <c:pt idx="139">
                  <c:v>45481</c:v>
                </c:pt>
                <c:pt idx="140">
                  <c:v>45478</c:v>
                </c:pt>
                <c:pt idx="141">
                  <c:v>45477</c:v>
                </c:pt>
                <c:pt idx="142">
                  <c:v>45476</c:v>
                </c:pt>
                <c:pt idx="143">
                  <c:v>45475</c:v>
                </c:pt>
                <c:pt idx="144">
                  <c:v>45474</c:v>
                </c:pt>
                <c:pt idx="145">
                  <c:v>45471</c:v>
                </c:pt>
                <c:pt idx="146">
                  <c:v>45470</c:v>
                </c:pt>
                <c:pt idx="147">
                  <c:v>45469</c:v>
                </c:pt>
                <c:pt idx="148">
                  <c:v>45468</c:v>
                </c:pt>
                <c:pt idx="149">
                  <c:v>45467</c:v>
                </c:pt>
                <c:pt idx="150">
                  <c:v>45464</c:v>
                </c:pt>
                <c:pt idx="151">
                  <c:v>45463</c:v>
                </c:pt>
                <c:pt idx="152">
                  <c:v>45462</c:v>
                </c:pt>
                <c:pt idx="153">
                  <c:v>45461</c:v>
                </c:pt>
                <c:pt idx="154">
                  <c:v>45460</c:v>
                </c:pt>
                <c:pt idx="155">
                  <c:v>45457</c:v>
                </c:pt>
                <c:pt idx="156">
                  <c:v>45456</c:v>
                </c:pt>
                <c:pt idx="157">
                  <c:v>45455</c:v>
                </c:pt>
                <c:pt idx="158">
                  <c:v>45454</c:v>
                </c:pt>
                <c:pt idx="159">
                  <c:v>45453</c:v>
                </c:pt>
                <c:pt idx="160">
                  <c:v>45450</c:v>
                </c:pt>
                <c:pt idx="161">
                  <c:v>45449</c:v>
                </c:pt>
                <c:pt idx="162">
                  <c:v>45448</c:v>
                </c:pt>
                <c:pt idx="163">
                  <c:v>45447</c:v>
                </c:pt>
                <c:pt idx="164">
                  <c:v>45446</c:v>
                </c:pt>
                <c:pt idx="165">
                  <c:v>45444</c:v>
                </c:pt>
                <c:pt idx="166">
                  <c:v>45442</c:v>
                </c:pt>
                <c:pt idx="167">
                  <c:v>45441</c:v>
                </c:pt>
                <c:pt idx="168">
                  <c:v>45440</c:v>
                </c:pt>
                <c:pt idx="169">
                  <c:v>45439</c:v>
                </c:pt>
                <c:pt idx="170">
                  <c:v>45436</c:v>
                </c:pt>
                <c:pt idx="171">
                  <c:v>45435</c:v>
                </c:pt>
                <c:pt idx="172">
                  <c:v>45434</c:v>
                </c:pt>
                <c:pt idx="173">
                  <c:v>45433</c:v>
                </c:pt>
                <c:pt idx="174">
                  <c:v>45432</c:v>
                </c:pt>
                <c:pt idx="175">
                  <c:v>45429</c:v>
                </c:pt>
                <c:pt idx="176">
                  <c:v>45428</c:v>
                </c:pt>
                <c:pt idx="177">
                  <c:v>45427</c:v>
                </c:pt>
                <c:pt idx="178">
                  <c:v>45426</c:v>
                </c:pt>
                <c:pt idx="179">
                  <c:v>45425</c:v>
                </c:pt>
                <c:pt idx="180">
                  <c:v>45422</c:v>
                </c:pt>
                <c:pt idx="181">
                  <c:v>45421</c:v>
                </c:pt>
                <c:pt idx="182">
                  <c:v>45420</c:v>
                </c:pt>
                <c:pt idx="183">
                  <c:v>45419</c:v>
                </c:pt>
                <c:pt idx="184">
                  <c:v>45418</c:v>
                </c:pt>
                <c:pt idx="185">
                  <c:v>45415</c:v>
                </c:pt>
                <c:pt idx="186">
                  <c:v>45414</c:v>
                </c:pt>
                <c:pt idx="187">
                  <c:v>45413</c:v>
                </c:pt>
                <c:pt idx="188">
                  <c:v>45412</c:v>
                </c:pt>
                <c:pt idx="189">
                  <c:v>45411</c:v>
                </c:pt>
                <c:pt idx="190">
                  <c:v>45408</c:v>
                </c:pt>
                <c:pt idx="191">
                  <c:v>45407</c:v>
                </c:pt>
                <c:pt idx="192">
                  <c:v>45406</c:v>
                </c:pt>
                <c:pt idx="193">
                  <c:v>45405</c:v>
                </c:pt>
                <c:pt idx="194">
                  <c:v>45404</c:v>
                </c:pt>
                <c:pt idx="195">
                  <c:v>45401</c:v>
                </c:pt>
                <c:pt idx="196">
                  <c:v>45400</c:v>
                </c:pt>
                <c:pt idx="197">
                  <c:v>45399</c:v>
                </c:pt>
                <c:pt idx="198">
                  <c:v>45398</c:v>
                </c:pt>
                <c:pt idx="199">
                  <c:v>45397</c:v>
                </c:pt>
                <c:pt idx="200">
                  <c:v>45394</c:v>
                </c:pt>
                <c:pt idx="201">
                  <c:v>45393</c:v>
                </c:pt>
                <c:pt idx="202">
                  <c:v>45392</c:v>
                </c:pt>
              </c:numCache>
            </c:numRef>
          </c:cat>
          <c:val>
            <c:numRef>
              <c:f>Euribor!$D$15:$D$217</c:f>
              <c:numCache>
                <c:formatCode>General</c:formatCode>
                <c:ptCount val="203"/>
                <c:pt idx="0">
                  <c:v>2.6419999999999999</c:v>
                </c:pt>
                <c:pt idx="1">
                  <c:v>2.6680000000000001</c:v>
                </c:pt>
                <c:pt idx="2">
                  <c:v>2.657</c:v>
                </c:pt>
                <c:pt idx="3">
                  <c:v>2.6850000000000001</c:v>
                </c:pt>
                <c:pt idx="4">
                  <c:v>2.6549999999999998</c:v>
                </c:pt>
                <c:pt idx="5">
                  <c:v>2.641</c:v>
                </c:pt>
                <c:pt idx="6">
                  <c:v>2.649</c:v>
                </c:pt>
                <c:pt idx="7">
                  <c:v>2.6389999999999998</c:v>
                </c:pt>
                <c:pt idx="8">
                  <c:v>2.6309999999999998</c:v>
                </c:pt>
                <c:pt idx="9">
                  <c:v>2.585</c:v>
                </c:pt>
                <c:pt idx="10">
                  <c:v>2.5539999999999998</c:v>
                </c:pt>
                <c:pt idx="11">
                  <c:v>2.5619999999999998</c:v>
                </c:pt>
                <c:pt idx="12">
                  <c:v>2.5680000000000001</c:v>
                </c:pt>
                <c:pt idx="13">
                  <c:v>2.5619999999999998</c:v>
                </c:pt>
                <c:pt idx="14">
                  <c:v>2.5619999999999998</c:v>
                </c:pt>
                <c:pt idx="15">
                  <c:v>2.577</c:v>
                </c:pt>
                <c:pt idx="16">
                  <c:v>2.597</c:v>
                </c:pt>
                <c:pt idx="17">
                  <c:v>2.597</c:v>
                </c:pt>
                <c:pt idx="18">
                  <c:v>2.597</c:v>
                </c:pt>
                <c:pt idx="19">
                  <c:v>2.6120000000000001</c:v>
                </c:pt>
                <c:pt idx="20">
                  <c:v>2.6240000000000001</c:v>
                </c:pt>
                <c:pt idx="21">
                  <c:v>2.637</c:v>
                </c:pt>
                <c:pt idx="22">
                  <c:v>2.6520000000000001</c:v>
                </c:pt>
                <c:pt idx="23">
                  <c:v>2.6640000000000001</c:v>
                </c:pt>
                <c:pt idx="24">
                  <c:v>2.6549999999999998</c:v>
                </c:pt>
                <c:pt idx="25">
                  <c:v>2.6389999999999998</c:v>
                </c:pt>
                <c:pt idx="26">
                  <c:v>2.6560000000000001</c:v>
                </c:pt>
                <c:pt idx="27">
                  <c:v>2.6539999999999999</c:v>
                </c:pt>
                <c:pt idx="28">
                  <c:v>2.6549999999999998</c:v>
                </c:pt>
                <c:pt idx="29">
                  <c:v>2.661</c:v>
                </c:pt>
                <c:pt idx="30">
                  <c:v>2.6539999999999999</c:v>
                </c:pt>
                <c:pt idx="31">
                  <c:v>2.6419999999999999</c:v>
                </c:pt>
                <c:pt idx="32">
                  <c:v>2.625</c:v>
                </c:pt>
                <c:pt idx="33">
                  <c:v>2.6339999999999999</c:v>
                </c:pt>
                <c:pt idx="34">
                  <c:v>2.6749999999999998</c:v>
                </c:pt>
                <c:pt idx="35">
                  <c:v>2.6949999999999998</c:v>
                </c:pt>
                <c:pt idx="36">
                  <c:v>2.7080000000000002</c:v>
                </c:pt>
                <c:pt idx="37">
                  <c:v>2.7109999999999999</c:v>
                </c:pt>
                <c:pt idx="38">
                  <c:v>2.6760000000000002</c:v>
                </c:pt>
                <c:pt idx="39">
                  <c:v>2.694</c:v>
                </c:pt>
                <c:pt idx="40">
                  <c:v>2.77</c:v>
                </c:pt>
                <c:pt idx="41">
                  <c:v>2.778</c:v>
                </c:pt>
                <c:pt idx="42">
                  <c:v>2.7349999999999999</c:v>
                </c:pt>
                <c:pt idx="43">
                  <c:v>2.7429999999999999</c:v>
                </c:pt>
                <c:pt idx="44">
                  <c:v>2.7610000000000001</c:v>
                </c:pt>
                <c:pt idx="45">
                  <c:v>2.7480000000000002</c:v>
                </c:pt>
                <c:pt idx="46">
                  <c:v>2.7650000000000001</c:v>
                </c:pt>
                <c:pt idx="47">
                  <c:v>2.7789999999999999</c:v>
                </c:pt>
                <c:pt idx="48">
                  <c:v>2.7970000000000002</c:v>
                </c:pt>
                <c:pt idx="49">
                  <c:v>2.831</c:v>
                </c:pt>
                <c:pt idx="50">
                  <c:v>2.8220000000000001</c:v>
                </c:pt>
                <c:pt idx="51">
                  <c:v>2.8580000000000001</c:v>
                </c:pt>
                <c:pt idx="52">
                  <c:v>2.9159999999999999</c:v>
                </c:pt>
                <c:pt idx="53">
                  <c:v>2.923</c:v>
                </c:pt>
                <c:pt idx="54">
                  <c:v>2.9159999999999999</c:v>
                </c:pt>
                <c:pt idx="55">
                  <c:v>2.91</c:v>
                </c:pt>
                <c:pt idx="56">
                  <c:v>2.8639999999999999</c:v>
                </c:pt>
                <c:pt idx="57">
                  <c:v>2.867</c:v>
                </c:pt>
                <c:pt idx="58">
                  <c:v>2.8860000000000001</c:v>
                </c:pt>
                <c:pt idx="59">
                  <c:v>2.9049999999999998</c:v>
                </c:pt>
                <c:pt idx="60">
                  <c:v>2.8940000000000001</c:v>
                </c:pt>
                <c:pt idx="61">
                  <c:v>2.92</c:v>
                </c:pt>
                <c:pt idx="62">
                  <c:v>2.972</c:v>
                </c:pt>
                <c:pt idx="63">
                  <c:v>2.9540000000000002</c:v>
                </c:pt>
                <c:pt idx="64">
                  <c:v>2.972</c:v>
                </c:pt>
                <c:pt idx="65">
                  <c:v>3.028</c:v>
                </c:pt>
                <c:pt idx="66">
                  <c:v>3.036</c:v>
                </c:pt>
                <c:pt idx="67">
                  <c:v>3.0470000000000002</c:v>
                </c:pt>
                <c:pt idx="68">
                  <c:v>3.0569999999999999</c:v>
                </c:pt>
                <c:pt idx="69">
                  <c:v>3.0619999999999998</c:v>
                </c:pt>
                <c:pt idx="70">
                  <c:v>3.0640000000000001</c:v>
                </c:pt>
                <c:pt idx="71">
                  <c:v>3.0550000000000002</c:v>
                </c:pt>
                <c:pt idx="72">
                  <c:v>3.0470000000000002</c:v>
                </c:pt>
                <c:pt idx="73">
                  <c:v>3.0579999999999998</c:v>
                </c:pt>
                <c:pt idx="74">
                  <c:v>3.048</c:v>
                </c:pt>
                <c:pt idx="75">
                  <c:v>3.0459999999999998</c:v>
                </c:pt>
                <c:pt idx="76">
                  <c:v>3.0710000000000002</c:v>
                </c:pt>
                <c:pt idx="77">
                  <c:v>3.0920000000000001</c:v>
                </c:pt>
                <c:pt idx="78">
                  <c:v>3.0920000000000001</c:v>
                </c:pt>
                <c:pt idx="79">
                  <c:v>3.105</c:v>
                </c:pt>
                <c:pt idx="80">
                  <c:v>3.1520000000000001</c:v>
                </c:pt>
                <c:pt idx="81">
                  <c:v>3.1619999999999999</c:v>
                </c:pt>
                <c:pt idx="82">
                  <c:v>3.1549999999999998</c:v>
                </c:pt>
                <c:pt idx="83">
                  <c:v>3.1960000000000002</c:v>
                </c:pt>
                <c:pt idx="84">
                  <c:v>3.2120000000000002</c:v>
                </c:pt>
                <c:pt idx="85">
                  <c:v>3.1840000000000002</c:v>
                </c:pt>
                <c:pt idx="86">
                  <c:v>3.2229999999999999</c:v>
                </c:pt>
                <c:pt idx="87">
                  <c:v>3.2389999999999999</c:v>
                </c:pt>
                <c:pt idx="88">
                  <c:v>3.2679999999999998</c:v>
                </c:pt>
                <c:pt idx="89">
                  <c:v>3.2850000000000001</c:v>
                </c:pt>
                <c:pt idx="90">
                  <c:v>3.2709999999999999</c:v>
                </c:pt>
                <c:pt idx="91">
                  <c:v>3.2650000000000001</c:v>
                </c:pt>
                <c:pt idx="92">
                  <c:v>3.2759999999999998</c:v>
                </c:pt>
                <c:pt idx="93">
                  <c:v>3.2930000000000001</c:v>
                </c:pt>
                <c:pt idx="94">
                  <c:v>3.3069999999999999</c:v>
                </c:pt>
                <c:pt idx="95">
                  <c:v>3.3460000000000001</c:v>
                </c:pt>
                <c:pt idx="96">
                  <c:v>3.3639999999999999</c:v>
                </c:pt>
                <c:pt idx="97">
                  <c:v>3.379</c:v>
                </c:pt>
                <c:pt idx="98">
                  <c:v>3.3809999999999998</c:v>
                </c:pt>
                <c:pt idx="99">
                  <c:v>3.351</c:v>
                </c:pt>
                <c:pt idx="100">
                  <c:v>3.36</c:v>
                </c:pt>
                <c:pt idx="101">
                  <c:v>3.3759999999999999</c:v>
                </c:pt>
                <c:pt idx="102">
                  <c:v>3.391</c:v>
                </c:pt>
                <c:pt idx="103">
                  <c:v>3.3849999999999998</c:v>
                </c:pt>
                <c:pt idx="104">
                  <c:v>3.4009999999999998</c:v>
                </c:pt>
                <c:pt idx="105">
                  <c:v>3.3820000000000001</c:v>
                </c:pt>
                <c:pt idx="106">
                  <c:v>3.4079999999999999</c:v>
                </c:pt>
                <c:pt idx="107">
                  <c:v>3.41</c:v>
                </c:pt>
                <c:pt idx="108">
                  <c:v>3.407</c:v>
                </c:pt>
                <c:pt idx="109">
                  <c:v>3.4079999999999999</c:v>
                </c:pt>
                <c:pt idx="110">
                  <c:v>3.367</c:v>
                </c:pt>
                <c:pt idx="111">
                  <c:v>3.375</c:v>
                </c:pt>
                <c:pt idx="112">
                  <c:v>3.3980000000000001</c:v>
                </c:pt>
                <c:pt idx="113">
                  <c:v>3.4409999999999998</c:v>
                </c:pt>
                <c:pt idx="114">
                  <c:v>3.4449999999999998</c:v>
                </c:pt>
                <c:pt idx="115">
                  <c:v>3.4369999999999998</c:v>
                </c:pt>
                <c:pt idx="116">
                  <c:v>3.488</c:v>
                </c:pt>
                <c:pt idx="117">
                  <c:v>3.4620000000000002</c:v>
                </c:pt>
                <c:pt idx="118">
                  <c:v>3.3969999999999998</c:v>
                </c:pt>
                <c:pt idx="119">
                  <c:v>3.4940000000000002</c:v>
                </c:pt>
                <c:pt idx="120">
                  <c:v>3.55</c:v>
                </c:pt>
                <c:pt idx="121">
                  <c:v>3.56</c:v>
                </c:pt>
                <c:pt idx="122">
                  <c:v>3.5790000000000002</c:v>
                </c:pt>
                <c:pt idx="123">
                  <c:v>3.585</c:v>
                </c:pt>
                <c:pt idx="124">
                  <c:v>3.59</c:v>
                </c:pt>
                <c:pt idx="125" formatCode="0.00">
                  <c:v>3.5910000000000002</c:v>
                </c:pt>
                <c:pt idx="126">
                  <c:v>3.62</c:v>
                </c:pt>
                <c:pt idx="127">
                  <c:v>3.65</c:v>
                </c:pt>
                <c:pt idx="128">
                  <c:v>3.64</c:v>
                </c:pt>
                <c:pt idx="129">
                  <c:v>3.64</c:v>
                </c:pt>
                <c:pt idx="130">
                  <c:v>3.633</c:v>
                </c:pt>
                <c:pt idx="131">
                  <c:v>3.6240000000000001</c:v>
                </c:pt>
                <c:pt idx="132">
                  <c:v>3.62</c:v>
                </c:pt>
                <c:pt idx="133">
                  <c:v>3.6339999999999999</c:v>
                </c:pt>
                <c:pt idx="134">
                  <c:v>3.6349999999999998</c:v>
                </c:pt>
                <c:pt idx="135">
                  <c:v>3.6619999999999999</c:v>
                </c:pt>
                <c:pt idx="136">
                  <c:v>3.6760000000000002</c:v>
                </c:pt>
                <c:pt idx="137">
                  <c:v>3.6829999999999998</c:v>
                </c:pt>
                <c:pt idx="138">
                  <c:v>3.6680000000000001</c:v>
                </c:pt>
                <c:pt idx="139">
                  <c:v>3.6749999999999998</c:v>
                </c:pt>
                <c:pt idx="140">
                  <c:v>3.6779999999999999</c:v>
                </c:pt>
                <c:pt idx="141">
                  <c:v>3.6829999999999998</c:v>
                </c:pt>
                <c:pt idx="142">
                  <c:v>3.6779999999999999</c:v>
                </c:pt>
                <c:pt idx="143">
                  <c:v>3.6760000000000002</c:v>
                </c:pt>
                <c:pt idx="144">
                  <c:v>3.6779999999999999</c:v>
                </c:pt>
                <c:pt idx="145">
                  <c:v>3.6819999999999999</c:v>
                </c:pt>
                <c:pt idx="146">
                  <c:v>3.6779999999999999</c:v>
                </c:pt>
                <c:pt idx="147">
                  <c:v>3.6720000000000002</c:v>
                </c:pt>
                <c:pt idx="148">
                  <c:v>3.6709999999999998</c:v>
                </c:pt>
                <c:pt idx="149">
                  <c:v>3.661</c:v>
                </c:pt>
                <c:pt idx="150">
                  <c:v>3.6909999999999998</c:v>
                </c:pt>
                <c:pt idx="151">
                  <c:v>3.6890000000000001</c:v>
                </c:pt>
                <c:pt idx="152">
                  <c:v>3.6949999999999998</c:v>
                </c:pt>
                <c:pt idx="153">
                  <c:v>3.6949999999999998</c:v>
                </c:pt>
                <c:pt idx="154">
                  <c:v>3.7109999999999999</c:v>
                </c:pt>
                <c:pt idx="155">
                  <c:v>3.7349999999999999</c:v>
                </c:pt>
                <c:pt idx="156">
                  <c:v>3.7429999999999999</c:v>
                </c:pt>
                <c:pt idx="157">
                  <c:v>3.7480000000000002</c:v>
                </c:pt>
                <c:pt idx="158">
                  <c:v>3.7509999999999999</c:v>
                </c:pt>
                <c:pt idx="159">
                  <c:v>3.7480000000000002</c:v>
                </c:pt>
                <c:pt idx="160">
                  <c:v>3.7349999999999999</c:v>
                </c:pt>
                <c:pt idx="161">
                  <c:v>3.7440000000000002</c:v>
                </c:pt>
                <c:pt idx="162">
                  <c:v>3.738</c:v>
                </c:pt>
                <c:pt idx="163">
                  <c:v>3.7559999999999998</c:v>
                </c:pt>
                <c:pt idx="164">
                  <c:v>3.7549999999999999</c:v>
                </c:pt>
                <c:pt idx="165">
                  <c:v>3.7450000000000001</c:v>
                </c:pt>
                <c:pt idx="166">
                  <c:v>3.7589999999999999</c:v>
                </c:pt>
                <c:pt idx="167">
                  <c:v>3.7679999999999998</c:v>
                </c:pt>
                <c:pt idx="168">
                  <c:v>3.7490000000000001</c:v>
                </c:pt>
                <c:pt idx="169">
                  <c:v>3.7749999999999999</c:v>
                </c:pt>
                <c:pt idx="170">
                  <c:v>3.78</c:v>
                </c:pt>
                <c:pt idx="171">
                  <c:v>3.7829999999999999</c:v>
                </c:pt>
                <c:pt idx="172">
                  <c:v>3.7839999999999998</c:v>
                </c:pt>
                <c:pt idx="173">
                  <c:v>3.7839999999999998</c:v>
                </c:pt>
                <c:pt idx="174">
                  <c:v>3.7869999999999999</c:v>
                </c:pt>
                <c:pt idx="175">
                  <c:v>3.7909999999999999</c:v>
                </c:pt>
                <c:pt idx="176">
                  <c:v>3.7949999999999999</c:v>
                </c:pt>
                <c:pt idx="177">
                  <c:v>3.798</c:v>
                </c:pt>
                <c:pt idx="178">
                  <c:v>3.7989999999999999</c:v>
                </c:pt>
                <c:pt idx="179">
                  <c:v>3.8</c:v>
                </c:pt>
                <c:pt idx="180">
                  <c:v>3.7890000000000001</c:v>
                </c:pt>
                <c:pt idx="181">
                  <c:v>3.802</c:v>
                </c:pt>
                <c:pt idx="182">
                  <c:v>3.7949999999999999</c:v>
                </c:pt>
                <c:pt idx="183">
                  <c:v>3.802</c:v>
                </c:pt>
                <c:pt idx="184">
                  <c:v>3.7909999999999999</c:v>
                </c:pt>
                <c:pt idx="185">
                  <c:v>3.802</c:v>
                </c:pt>
                <c:pt idx="186">
                  <c:v>3.8279999999999998</c:v>
                </c:pt>
                <c:pt idx="187">
                  <c:v>3.7949999999999999</c:v>
                </c:pt>
                <c:pt idx="188">
                  <c:v>3.7949999999999999</c:v>
                </c:pt>
                <c:pt idx="189">
                  <c:v>3.8149999999999999</c:v>
                </c:pt>
                <c:pt idx="190">
                  <c:v>3.835</c:v>
                </c:pt>
                <c:pt idx="191">
                  <c:v>3.8250000000000002</c:v>
                </c:pt>
                <c:pt idx="192">
                  <c:v>3.8330000000000002</c:v>
                </c:pt>
                <c:pt idx="193">
                  <c:v>3.8439999999999999</c:v>
                </c:pt>
                <c:pt idx="194">
                  <c:v>3.85</c:v>
                </c:pt>
                <c:pt idx="195">
                  <c:v>3.8460000000000001</c:v>
                </c:pt>
                <c:pt idx="196">
                  <c:v>3.843</c:v>
                </c:pt>
                <c:pt idx="197">
                  <c:v>3.8420000000000001</c:v>
                </c:pt>
                <c:pt idx="198">
                  <c:v>3.8420000000000001</c:v>
                </c:pt>
                <c:pt idx="199">
                  <c:v>3.82</c:v>
                </c:pt>
                <c:pt idx="200">
                  <c:v>3.8650000000000002</c:v>
                </c:pt>
                <c:pt idx="201">
                  <c:v>3.8620000000000001</c:v>
                </c:pt>
                <c:pt idx="202">
                  <c:v>3.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B02-43D4-8B5E-F05FB14305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34987455"/>
        <c:axId val="1434989119"/>
      </c:lineChart>
      <c:dateAx>
        <c:axId val="1434987455"/>
        <c:scaling>
          <c:orientation val="minMax"/>
          <c:min val="45413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434989119"/>
        <c:crosses val="autoZero"/>
        <c:auto val="1"/>
        <c:lblOffset val="100"/>
        <c:baseTimeUnit val="days"/>
        <c:majorUnit val="8"/>
        <c:majorTimeUnit val="days"/>
      </c:dateAx>
      <c:valAx>
        <c:axId val="1434989119"/>
        <c:scaling>
          <c:orientation val="minMax"/>
          <c:max val="4.3"/>
          <c:min val="2.2000000000000002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434987455"/>
        <c:crosses val="autoZero"/>
        <c:crossBetween val="between"/>
        <c:minorUnit val="0.2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1150506683949259"/>
          <c:y val="0.1975367985760185"/>
          <c:w val="0.47720627168249685"/>
          <c:h val="0.114591158717368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Corbel" panose="020B0503020204020204" pitchFamily="34" charset="0"/>
        </a:defRPr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j-ea"/>
                <a:cs typeface="+mj-cs"/>
              </a:defRPr>
            </a:pPr>
            <a:r>
              <a:rPr lang="ru-RU" sz="1400" b="1" dirty="0">
                <a:latin typeface="+mn-lt"/>
              </a:rPr>
              <a:t>Объём торгов на Узбекской республиканской валютной бирже, млн долл.</a:t>
            </a:r>
          </a:p>
        </c:rich>
      </c:tx>
      <c:layout>
        <c:manualLayout>
          <c:xMode val="edge"/>
          <c:yMode val="edge"/>
          <c:x val="0.17256515124896613"/>
          <c:y val="1.15450197914098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j-ea"/>
              <a:cs typeface="+mj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1311239008200373E-2"/>
          <c:y val="0.19913850550526638"/>
          <c:w val="0.88422291825864807"/>
          <c:h val="0.5561074365704287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Объём торгов'!$C$1</c:f>
              <c:strCache>
                <c:ptCount val="1"/>
                <c:pt idx="0">
                  <c:v>Объём торгов, млн. долл. США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'Объём торгов'!$A$16:$A$135</c:f>
              <c:numCache>
                <c:formatCode>m/d/yyyy</c:formatCode>
                <c:ptCount val="120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7</c:v>
                </c:pt>
                <c:pt idx="6">
                  <c:v>45666</c:v>
                </c:pt>
                <c:pt idx="7">
                  <c:v>45665</c:v>
                </c:pt>
                <c:pt idx="8">
                  <c:v>45664</c:v>
                </c:pt>
                <c:pt idx="9">
                  <c:v>45663</c:v>
                </c:pt>
                <c:pt idx="10">
                  <c:v>45661</c:v>
                </c:pt>
                <c:pt idx="11">
                  <c:v>45660</c:v>
                </c:pt>
                <c:pt idx="12">
                  <c:v>45659</c:v>
                </c:pt>
                <c:pt idx="13">
                  <c:v>45658</c:v>
                </c:pt>
                <c:pt idx="14">
                  <c:v>45657</c:v>
                </c:pt>
                <c:pt idx="15">
                  <c:v>45656</c:v>
                </c:pt>
                <c:pt idx="16">
                  <c:v>45655</c:v>
                </c:pt>
                <c:pt idx="17">
                  <c:v>45654</c:v>
                </c:pt>
                <c:pt idx="18">
                  <c:v>45653</c:v>
                </c:pt>
                <c:pt idx="19">
                  <c:v>45652</c:v>
                </c:pt>
                <c:pt idx="20">
                  <c:v>45651</c:v>
                </c:pt>
                <c:pt idx="21">
                  <c:v>45650</c:v>
                </c:pt>
                <c:pt idx="22">
                  <c:v>45649</c:v>
                </c:pt>
                <c:pt idx="23">
                  <c:v>45646</c:v>
                </c:pt>
                <c:pt idx="24">
                  <c:v>45645</c:v>
                </c:pt>
                <c:pt idx="25">
                  <c:v>45644</c:v>
                </c:pt>
                <c:pt idx="26">
                  <c:v>45643</c:v>
                </c:pt>
                <c:pt idx="27">
                  <c:v>45642</c:v>
                </c:pt>
                <c:pt idx="28">
                  <c:v>45639</c:v>
                </c:pt>
                <c:pt idx="29">
                  <c:v>45638</c:v>
                </c:pt>
                <c:pt idx="30">
                  <c:v>45637</c:v>
                </c:pt>
                <c:pt idx="31">
                  <c:v>45636</c:v>
                </c:pt>
                <c:pt idx="32">
                  <c:v>45635</c:v>
                </c:pt>
                <c:pt idx="33">
                  <c:v>45632</c:v>
                </c:pt>
                <c:pt idx="34">
                  <c:v>45631</c:v>
                </c:pt>
                <c:pt idx="35">
                  <c:v>45630</c:v>
                </c:pt>
                <c:pt idx="36">
                  <c:v>45629</c:v>
                </c:pt>
                <c:pt idx="37">
                  <c:v>45628</c:v>
                </c:pt>
                <c:pt idx="38">
                  <c:v>45625</c:v>
                </c:pt>
                <c:pt idx="39">
                  <c:v>45624</c:v>
                </c:pt>
                <c:pt idx="40">
                  <c:v>45623</c:v>
                </c:pt>
                <c:pt idx="41">
                  <c:v>45622</c:v>
                </c:pt>
                <c:pt idx="42">
                  <c:v>45621</c:v>
                </c:pt>
                <c:pt idx="43">
                  <c:v>45618</c:v>
                </c:pt>
                <c:pt idx="44">
                  <c:v>45617</c:v>
                </c:pt>
                <c:pt idx="45">
                  <c:v>45616</c:v>
                </c:pt>
                <c:pt idx="46">
                  <c:v>45615</c:v>
                </c:pt>
                <c:pt idx="47">
                  <c:v>45614</c:v>
                </c:pt>
                <c:pt idx="48">
                  <c:v>45611</c:v>
                </c:pt>
                <c:pt idx="49">
                  <c:v>45610</c:v>
                </c:pt>
                <c:pt idx="50">
                  <c:v>45609</c:v>
                </c:pt>
                <c:pt idx="51">
                  <c:v>45608</c:v>
                </c:pt>
                <c:pt idx="52">
                  <c:v>45607</c:v>
                </c:pt>
                <c:pt idx="53">
                  <c:v>45604</c:v>
                </c:pt>
                <c:pt idx="54">
                  <c:v>45603</c:v>
                </c:pt>
                <c:pt idx="55">
                  <c:v>45602</c:v>
                </c:pt>
                <c:pt idx="56">
                  <c:v>45601</c:v>
                </c:pt>
                <c:pt idx="57">
                  <c:v>45600</c:v>
                </c:pt>
                <c:pt idx="58">
                  <c:v>45597</c:v>
                </c:pt>
                <c:pt idx="59">
                  <c:v>45596</c:v>
                </c:pt>
                <c:pt idx="60">
                  <c:v>45595</c:v>
                </c:pt>
                <c:pt idx="61">
                  <c:v>45594</c:v>
                </c:pt>
                <c:pt idx="62">
                  <c:v>45593</c:v>
                </c:pt>
                <c:pt idx="63">
                  <c:v>45590</c:v>
                </c:pt>
                <c:pt idx="64">
                  <c:v>45589</c:v>
                </c:pt>
                <c:pt idx="65">
                  <c:v>45588</c:v>
                </c:pt>
                <c:pt idx="66">
                  <c:v>45587</c:v>
                </c:pt>
                <c:pt idx="67">
                  <c:v>45586</c:v>
                </c:pt>
                <c:pt idx="68">
                  <c:v>45583</c:v>
                </c:pt>
                <c:pt idx="69">
                  <c:v>45582</c:v>
                </c:pt>
                <c:pt idx="70">
                  <c:v>45581</c:v>
                </c:pt>
                <c:pt idx="71">
                  <c:v>45580</c:v>
                </c:pt>
                <c:pt idx="72">
                  <c:v>45579</c:v>
                </c:pt>
                <c:pt idx="73">
                  <c:v>45576</c:v>
                </c:pt>
                <c:pt idx="74">
                  <c:v>45575</c:v>
                </c:pt>
                <c:pt idx="75">
                  <c:v>45574</c:v>
                </c:pt>
                <c:pt idx="76">
                  <c:v>45573</c:v>
                </c:pt>
                <c:pt idx="77">
                  <c:v>45572</c:v>
                </c:pt>
                <c:pt idx="78">
                  <c:v>45569</c:v>
                </c:pt>
                <c:pt idx="79">
                  <c:v>45568</c:v>
                </c:pt>
                <c:pt idx="80">
                  <c:v>45567</c:v>
                </c:pt>
                <c:pt idx="81">
                  <c:v>45566</c:v>
                </c:pt>
                <c:pt idx="82">
                  <c:v>45565</c:v>
                </c:pt>
                <c:pt idx="83">
                  <c:v>45562</c:v>
                </c:pt>
                <c:pt idx="84">
                  <c:v>45561</c:v>
                </c:pt>
                <c:pt idx="85">
                  <c:v>45560</c:v>
                </c:pt>
                <c:pt idx="86">
                  <c:v>45559</c:v>
                </c:pt>
                <c:pt idx="87">
                  <c:v>45558</c:v>
                </c:pt>
                <c:pt idx="88">
                  <c:v>45555</c:v>
                </c:pt>
                <c:pt idx="89">
                  <c:v>45554</c:v>
                </c:pt>
                <c:pt idx="90">
                  <c:v>45553</c:v>
                </c:pt>
                <c:pt idx="91">
                  <c:v>45552</c:v>
                </c:pt>
                <c:pt idx="92">
                  <c:v>45551</c:v>
                </c:pt>
                <c:pt idx="93">
                  <c:v>45548</c:v>
                </c:pt>
                <c:pt idx="94">
                  <c:v>45547</c:v>
                </c:pt>
                <c:pt idx="95">
                  <c:v>45546</c:v>
                </c:pt>
                <c:pt idx="96">
                  <c:v>45545</c:v>
                </c:pt>
                <c:pt idx="97">
                  <c:v>45544</c:v>
                </c:pt>
                <c:pt idx="98">
                  <c:v>45541</c:v>
                </c:pt>
                <c:pt idx="99">
                  <c:v>45540</c:v>
                </c:pt>
                <c:pt idx="100">
                  <c:v>45539</c:v>
                </c:pt>
                <c:pt idx="101">
                  <c:v>45534</c:v>
                </c:pt>
                <c:pt idx="102">
                  <c:v>45533</c:v>
                </c:pt>
                <c:pt idx="103">
                  <c:v>45532</c:v>
                </c:pt>
                <c:pt idx="104">
                  <c:v>45531</c:v>
                </c:pt>
                <c:pt idx="105">
                  <c:v>45530</c:v>
                </c:pt>
                <c:pt idx="106">
                  <c:v>45527</c:v>
                </c:pt>
                <c:pt idx="107">
                  <c:v>45526</c:v>
                </c:pt>
                <c:pt idx="108">
                  <c:v>45525</c:v>
                </c:pt>
                <c:pt idx="109">
                  <c:v>45524</c:v>
                </c:pt>
                <c:pt idx="110">
                  <c:v>45523</c:v>
                </c:pt>
                <c:pt idx="111">
                  <c:v>45520</c:v>
                </c:pt>
                <c:pt idx="112">
                  <c:v>45519</c:v>
                </c:pt>
                <c:pt idx="113">
                  <c:v>45518</c:v>
                </c:pt>
                <c:pt idx="114">
                  <c:v>45517</c:v>
                </c:pt>
                <c:pt idx="115">
                  <c:v>45516</c:v>
                </c:pt>
                <c:pt idx="116">
                  <c:v>45513</c:v>
                </c:pt>
                <c:pt idx="117">
                  <c:v>45512</c:v>
                </c:pt>
                <c:pt idx="118">
                  <c:v>45511</c:v>
                </c:pt>
                <c:pt idx="119">
                  <c:v>45510</c:v>
                </c:pt>
              </c:numCache>
            </c:numRef>
          </c:cat>
          <c:val>
            <c:numRef>
              <c:f>'Объём торгов'!$C$16:$C$130</c:f>
              <c:numCache>
                <c:formatCode>#\ ##0.0</c:formatCode>
                <c:ptCount val="115"/>
                <c:pt idx="0">
                  <c:v>143</c:v>
                </c:pt>
                <c:pt idx="1">
                  <c:v>86</c:v>
                </c:pt>
                <c:pt idx="2">
                  <c:v>103</c:v>
                </c:pt>
                <c:pt idx="3">
                  <c:v>222</c:v>
                </c:pt>
                <c:pt idx="4">
                  <c:v>228</c:v>
                </c:pt>
                <c:pt idx="5">
                  <c:v>203.34</c:v>
                </c:pt>
                <c:pt idx="6">
                  <c:v>152.4</c:v>
                </c:pt>
                <c:pt idx="7">
                  <c:v>334.05</c:v>
                </c:pt>
                <c:pt idx="8">
                  <c:v>225</c:v>
                </c:pt>
                <c:pt idx="9">
                  <c:v>139.6</c:v>
                </c:pt>
                <c:pt idx="10">
                  <c:v>288</c:v>
                </c:pt>
                <c:pt idx="11">
                  <c:v>174</c:v>
                </c:pt>
                <c:pt idx="18">
                  <c:v>103.2</c:v>
                </c:pt>
                <c:pt idx="19">
                  <c:v>113.6</c:v>
                </c:pt>
                <c:pt idx="20">
                  <c:v>581.1</c:v>
                </c:pt>
                <c:pt idx="21">
                  <c:v>158.6</c:v>
                </c:pt>
                <c:pt idx="22">
                  <c:v>196.5</c:v>
                </c:pt>
                <c:pt idx="23">
                  <c:v>198</c:v>
                </c:pt>
                <c:pt idx="24">
                  <c:v>145</c:v>
                </c:pt>
                <c:pt idx="25">
                  <c:v>151.6</c:v>
                </c:pt>
                <c:pt idx="26">
                  <c:v>100</c:v>
                </c:pt>
                <c:pt idx="27">
                  <c:v>126.514</c:v>
                </c:pt>
                <c:pt idx="28">
                  <c:v>231.6</c:v>
                </c:pt>
                <c:pt idx="29">
                  <c:v>88</c:v>
                </c:pt>
                <c:pt idx="30">
                  <c:v>112.3</c:v>
                </c:pt>
                <c:pt idx="31">
                  <c:v>217.4</c:v>
                </c:pt>
                <c:pt idx="32">
                  <c:v>217.4</c:v>
                </c:pt>
                <c:pt idx="33">
                  <c:v>239</c:v>
                </c:pt>
                <c:pt idx="34">
                  <c:v>234.4</c:v>
                </c:pt>
                <c:pt idx="35">
                  <c:v>93</c:v>
                </c:pt>
                <c:pt idx="36">
                  <c:v>78.099999999999994</c:v>
                </c:pt>
                <c:pt idx="37">
                  <c:v>105.4</c:v>
                </c:pt>
                <c:pt idx="38">
                  <c:v>86</c:v>
                </c:pt>
                <c:pt idx="39">
                  <c:v>247.6</c:v>
                </c:pt>
                <c:pt idx="40">
                  <c:v>256.89999999999998</c:v>
                </c:pt>
                <c:pt idx="41">
                  <c:v>102</c:v>
                </c:pt>
                <c:pt idx="42">
                  <c:v>167.2</c:v>
                </c:pt>
                <c:pt idx="43">
                  <c:v>54.2</c:v>
                </c:pt>
                <c:pt idx="44">
                  <c:v>106.4</c:v>
                </c:pt>
                <c:pt idx="45">
                  <c:v>148</c:v>
                </c:pt>
                <c:pt idx="46">
                  <c:v>201.66</c:v>
                </c:pt>
                <c:pt idx="47">
                  <c:v>282</c:v>
                </c:pt>
                <c:pt idx="48">
                  <c:v>140.30000000000001</c:v>
                </c:pt>
                <c:pt idx="49">
                  <c:v>134</c:v>
                </c:pt>
                <c:pt idx="50">
                  <c:v>177.2</c:v>
                </c:pt>
                <c:pt idx="51">
                  <c:v>88.04</c:v>
                </c:pt>
                <c:pt idx="52">
                  <c:v>111.2</c:v>
                </c:pt>
                <c:pt idx="53">
                  <c:v>182.8</c:v>
                </c:pt>
                <c:pt idx="54">
                  <c:v>261.39999999999998</c:v>
                </c:pt>
                <c:pt idx="55">
                  <c:v>120.6</c:v>
                </c:pt>
                <c:pt idx="56">
                  <c:v>99</c:v>
                </c:pt>
                <c:pt idx="57">
                  <c:v>97.6</c:v>
                </c:pt>
                <c:pt idx="58">
                  <c:v>119.2</c:v>
                </c:pt>
                <c:pt idx="59">
                  <c:v>161</c:v>
                </c:pt>
                <c:pt idx="60">
                  <c:v>151</c:v>
                </c:pt>
                <c:pt idx="61">
                  <c:v>119.8</c:v>
                </c:pt>
                <c:pt idx="62">
                  <c:v>165</c:v>
                </c:pt>
                <c:pt idx="63">
                  <c:v>135</c:v>
                </c:pt>
                <c:pt idx="64">
                  <c:v>126.2</c:v>
                </c:pt>
                <c:pt idx="65">
                  <c:v>169.7</c:v>
                </c:pt>
                <c:pt idx="66">
                  <c:v>154</c:v>
                </c:pt>
                <c:pt idx="67">
                  <c:v>163.80000000000001</c:v>
                </c:pt>
                <c:pt idx="68">
                  <c:v>143</c:v>
                </c:pt>
                <c:pt idx="69">
                  <c:v>205.3</c:v>
                </c:pt>
                <c:pt idx="70">
                  <c:v>88.8</c:v>
                </c:pt>
                <c:pt idx="71">
                  <c:v>152.69999999999999</c:v>
                </c:pt>
                <c:pt idx="72">
                  <c:v>217</c:v>
                </c:pt>
                <c:pt idx="73">
                  <c:v>165.6</c:v>
                </c:pt>
                <c:pt idx="74">
                  <c:v>97.6</c:v>
                </c:pt>
                <c:pt idx="75">
                  <c:v>117</c:v>
                </c:pt>
                <c:pt idx="76">
                  <c:v>115</c:v>
                </c:pt>
                <c:pt idx="77">
                  <c:v>270</c:v>
                </c:pt>
                <c:pt idx="78">
                  <c:v>270.60000000000002</c:v>
                </c:pt>
                <c:pt idx="79">
                  <c:v>130</c:v>
                </c:pt>
                <c:pt idx="80">
                  <c:v>235.2</c:v>
                </c:pt>
                <c:pt idx="82">
                  <c:v>249.1</c:v>
                </c:pt>
                <c:pt idx="83">
                  <c:v>126.3</c:v>
                </c:pt>
                <c:pt idx="84">
                  <c:v>128</c:v>
                </c:pt>
                <c:pt idx="85">
                  <c:v>117</c:v>
                </c:pt>
                <c:pt idx="86">
                  <c:v>130</c:v>
                </c:pt>
                <c:pt idx="87">
                  <c:v>173</c:v>
                </c:pt>
                <c:pt idx="88">
                  <c:v>94.2</c:v>
                </c:pt>
                <c:pt idx="89">
                  <c:v>101</c:v>
                </c:pt>
                <c:pt idx="90">
                  <c:v>82.6</c:v>
                </c:pt>
                <c:pt idx="91">
                  <c:v>56.2</c:v>
                </c:pt>
                <c:pt idx="92">
                  <c:v>131</c:v>
                </c:pt>
                <c:pt idx="93">
                  <c:v>171.4</c:v>
                </c:pt>
                <c:pt idx="94">
                  <c:v>218.6</c:v>
                </c:pt>
                <c:pt idx="95">
                  <c:v>196.2</c:v>
                </c:pt>
                <c:pt idx="96">
                  <c:v>102.4</c:v>
                </c:pt>
                <c:pt idx="97">
                  <c:v>91.6</c:v>
                </c:pt>
                <c:pt idx="98">
                  <c:v>173.4</c:v>
                </c:pt>
                <c:pt idx="99">
                  <c:v>497.6</c:v>
                </c:pt>
                <c:pt idx="100">
                  <c:v>183.2</c:v>
                </c:pt>
                <c:pt idx="101">
                  <c:v>109</c:v>
                </c:pt>
                <c:pt idx="102">
                  <c:v>437</c:v>
                </c:pt>
                <c:pt idx="103">
                  <c:v>186.5</c:v>
                </c:pt>
                <c:pt idx="104">
                  <c:v>77.5</c:v>
                </c:pt>
                <c:pt idx="105">
                  <c:v>116</c:v>
                </c:pt>
                <c:pt idx="106">
                  <c:v>170</c:v>
                </c:pt>
                <c:pt idx="107">
                  <c:v>194</c:v>
                </c:pt>
                <c:pt idx="108">
                  <c:v>156</c:v>
                </c:pt>
                <c:pt idx="109">
                  <c:v>123</c:v>
                </c:pt>
                <c:pt idx="110">
                  <c:v>124</c:v>
                </c:pt>
                <c:pt idx="111">
                  <c:v>122</c:v>
                </c:pt>
                <c:pt idx="112">
                  <c:v>188</c:v>
                </c:pt>
                <c:pt idx="113">
                  <c:v>73</c:v>
                </c:pt>
                <c:pt idx="11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9C-43DE-8472-E6FEABDA60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9"/>
        <c:axId val="491449080"/>
        <c:axId val="491455312"/>
      </c:barChart>
      <c:dateAx>
        <c:axId val="49144908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1455312"/>
        <c:crosses val="autoZero"/>
        <c:auto val="1"/>
        <c:lblOffset val="100"/>
        <c:baseTimeUnit val="days"/>
        <c:majorUnit val="9"/>
        <c:majorTimeUnit val="days"/>
      </c:dateAx>
      <c:valAx>
        <c:axId val="491455312"/>
        <c:scaling>
          <c:orientation val="minMax"/>
          <c:max val="6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1449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2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Обменный курс доллара к суму </a:t>
            </a:r>
          </a:p>
        </c:rich>
      </c:tx>
      <c:layout>
        <c:manualLayout>
          <c:xMode val="edge"/>
          <c:yMode val="edge"/>
          <c:x val="0.29180539938105143"/>
          <c:y val="3.65856293376416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2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1506374632465743"/>
          <c:y val="0.22948515357819382"/>
          <c:w val="0.8510799832228696"/>
          <c:h val="0.46949902488153178"/>
        </c:manualLayout>
      </c:layout>
      <c:lineChart>
        <c:grouping val="stacked"/>
        <c:varyColors val="0"/>
        <c:ser>
          <c:idx val="0"/>
          <c:order val="0"/>
          <c:spPr>
            <a:ln w="22225" cap="rnd" cmpd="sng" algn="ctr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Объём торгов'!$A$16:$A$207</c:f>
              <c:numCache>
                <c:formatCode>m/d/yyyy</c:formatCode>
                <c:ptCount val="192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7</c:v>
                </c:pt>
                <c:pt idx="6">
                  <c:v>45666</c:v>
                </c:pt>
                <c:pt idx="7">
                  <c:v>45665</c:v>
                </c:pt>
                <c:pt idx="8">
                  <c:v>45664</c:v>
                </c:pt>
                <c:pt idx="9">
                  <c:v>45663</c:v>
                </c:pt>
                <c:pt idx="10">
                  <c:v>45661</c:v>
                </c:pt>
                <c:pt idx="11">
                  <c:v>45660</c:v>
                </c:pt>
                <c:pt idx="12">
                  <c:v>45659</c:v>
                </c:pt>
                <c:pt idx="13">
                  <c:v>45658</c:v>
                </c:pt>
                <c:pt idx="14">
                  <c:v>45657</c:v>
                </c:pt>
                <c:pt idx="15">
                  <c:v>45656</c:v>
                </c:pt>
                <c:pt idx="16">
                  <c:v>45655</c:v>
                </c:pt>
                <c:pt idx="17">
                  <c:v>45654</c:v>
                </c:pt>
                <c:pt idx="18">
                  <c:v>45653</c:v>
                </c:pt>
                <c:pt idx="19">
                  <c:v>45652</c:v>
                </c:pt>
                <c:pt idx="20">
                  <c:v>45651</c:v>
                </c:pt>
                <c:pt idx="21">
                  <c:v>45650</c:v>
                </c:pt>
                <c:pt idx="22">
                  <c:v>45649</c:v>
                </c:pt>
                <c:pt idx="23">
                  <c:v>45646</c:v>
                </c:pt>
                <c:pt idx="24">
                  <c:v>45645</c:v>
                </c:pt>
                <c:pt idx="25">
                  <c:v>45644</c:v>
                </c:pt>
                <c:pt idx="26">
                  <c:v>45643</c:v>
                </c:pt>
                <c:pt idx="27">
                  <c:v>45642</c:v>
                </c:pt>
                <c:pt idx="28">
                  <c:v>45639</c:v>
                </c:pt>
                <c:pt idx="29">
                  <c:v>45638</c:v>
                </c:pt>
                <c:pt idx="30">
                  <c:v>45637</c:v>
                </c:pt>
                <c:pt idx="31">
                  <c:v>45636</c:v>
                </c:pt>
                <c:pt idx="32">
                  <c:v>45635</c:v>
                </c:pt>
                <c:pt idx="33">
                  <c:v>45632</c:v>
                </c:pt>
                <c:pt idx="34">
                  <c:v>45631</c:v>
                </c:pt>
                <c:pt idx="35">
                  <c:v>45630</c:v>
                </c:pt>
                <c:pt idx="36">
                  <c:v>45629</c:v>
                </c:pt>
                <c:pt idx="37">
                  <c:v>45628</c:v>
                </c:pt>
                <c:pt idx="38">
                  <c:v>45625</c:v>
                </c:pt>
                <c:pt idx="39">
                  <c:v>45624</c:v>
                </c:pt>
                <c:pt idx="40">
                  <c:v>45623</c:v>
                </c:pt>
                <c:pt idx="41">
                  <c:v>45622</c:v>
                </c:pt>
                <c:pt idx="42">
                  <c:v>45621</c:v>
                </c:pt>
                <c:pt idx="43">
                  <c:v>45618</c:v>
                </c:pt>
                <c:pt idx="44">
                  <c:v>45617</c:v>
                </c:pt>
                <c:pt idx="45">
                  <c:v>45616</c:v>
                </c:pt>
                <c:pt idx="46">
                  <c:v>45615</c:v>
                </c:pt>
                <c:pt idx="47">
                  <c:v>45614</c:v>
                </c:pt>
                <c:pt idx="48">
                  <c:v>45611</c:v>
                </c:pt>
                <c:pt idx="49">
                  <c:v>45610</c:v>
                </c:pt>
                <c:pt idx="50">
                  <c:v>45609</c:v>
                </c:pt>
                <c:pt idx="51">
                  <c:v>45608</c:v>
                </c:pt>
                <c:pt idx="52">
                  <c:v>45607</c:v>
                </c:pt>
                <c:pt idx="53">
                  <c:v>45604</c:v>
                </c:pt>
                <c:pt idx="54">
                  <c:v>45603</c:v>
                </c:pt>
                <c:pt idx="55">
                  <c:v>45602</c:v>
                </c:pt>
                <c:pt idx="56">
                  <c:v>45601</c:v>
                </c:pt>
                <c:pt idx="57">
                  <c:v>45600</c:v>
                </c:pt>
                <c:pt idx="58">
                  <c:v>45597</c:v>
                </c:pt>
                <c:pt idx="59">
                  <c:v>45596</c:v>
                </c:pt>
                <c:pt idx="60">
                  <c:v>45595</c:v>
                </c:pt>
                <c:pt idx="61">
                  <c:v>45594</c:v>
                </c:pt>
                <c:pt idx="62">
                  <c:v>45593</c:v>
                </c:pt>
                <c:pt idx="63">
                  <c:v>45590</c:v>
                </c:pt>
                <c:pt idx="64">
                  <c:v>45589</c:v>
                </c:pt>
                <c:pt idx="65">
                  <c:v>45588</c:v>
                </c:pt>
                <c:pt idx="66">
                  <c:v>45587</c:v>
                </c:pt>
                <c:pt idx="67">
                  <c:v>45586</c:v>
                </c:pt>
                <c:pt idx="68">
                  <c:v>45583</c:v>
                </c:pt>
                <c:pt idx="69">
                  <c:v>45582</c:v>
                </c:pt>
                <c:pt idx="70">
                  <c:v>45581</c:v>
                </c:pt>
                <c:pt idx="71">
                  <c:v>45580</c:v>
                </c:pt>
                <c:pt idx="72">
                  <c:v>45579</c:v>
                </c:pt>
                <c:pt idx="73">
                  <c:v>45576</c:v>
                </c:pt>
                <c:pt idx="74">
                  <c:v>45575</c:v>
                </c:pt>
                <c:pt idx="75">
                  <c:v>45574</c:v>
                </c:pt>
                <c:pt idx="76">
                  <c:v>45573</c:v>
                </c:pt>
                <c:pt idx="77">
                  <c:v>45572</c:v>
                </c:pt>
                <c:pt idx="78">
                  <c:v>45569</c:v>
                </c:pt>
                <c:pt idx="79">
                  <c:v>45568</c:v>
                </c:pt>
                <c:pt idx="80">
                  <c:v>45567</c:v>
                </c:pt>
                <c:pt idx="81">
                  <c:v>45566</c:v>
                </c:pt>
                <c:pt idx="82">
                  <c:v>45565</c:v>
                </c:pt>
                <c:pt idx="83">
                  <c:v>45562</c:v>
                </c:pt>
                <c:pt idx="84">
                  <c:v>45561</c:v>
                </c:pt>
                <c:pt idx="85">
                  <c:v>45560</c:v>
                </c:pt>
                <c:pt idx="86">
                  <c:v>45559</c:v>
                </c:pt>
                <c:pt idx="87">
                  <c:v>45558</c:v>
                </c:pt>
                <c:pt idx="88">
                  <c:v>45555</c:v>
                </c:pt>
                <c:pt idx="89">
                  <c:v>45554</c:v>
                </c:pt>
                <c:pt idx="90">
                  <c:v>45553</c:v>
                </c:pt>
                <c:pt idx="91">
                  <c:v>45552</c:v>
                </c:pt>
                <c:pt idx="92">
                  <c:v>45551</c:v>
                </c:pt>
                <c:pt idx="93">
                  <c:v>45548</c:v>
                </c:pt>
                <c:pt idx="94">
                  <c:v>45547</c:v>
                </c:pt>
                <c:pt idx="95">
                  <c:v>45546</c:v>
                </c:pt>
                <c:pt idx="96">
                  <c:v>45545</c:v>
                </c:pt>
                <c:pt idx="97">
                  <c:v>45544</c:v>
                </c:pt>
                <c:pt idx="98">
                  <c:v>45541</c:v>
                </c:pt>
                <c:pt idx="99">
                  <c:v>45540</c:v>
                </c:pt>
                <c:pt idx="100">
                  <c:v>45539</c:v>
                </c:pt>
                <c:pt idx="101">
                  <c:v>45534</c:v>
                </c:pt>
                <c:pt idx="102">
                  <c:v>45533</c:v>
                </c:pt>
                <c:pt idx="103">
                  <c:v>45532</c:v>
                </c:pt>
                <c:pt idx="104">
                  <c:v>45531</c:v>
                </c:pt>
                <c:pt idx="105">
                  <c:v>45530</c:v>
                </c:pt>
                <c:pt idx="106">
                  <c:v>45527</c:v>
                </c:pt>
                <c:pt idx="107">
                  <c:v>45526</c:v>
                </c:pt>
                <c:pt idx="108">
                  <c:v>45525</c:v>
                </c:pt>
                <c:pt idx="109">
                  <c:v>45524</c:v>
                </c:pt>
                <c:pt idx="110">
                  <c:v>45523</c:v>
                </c:pt>
                <c:pt idx="111">
                  <c:v>45520</c:v>
                </c:pt>
                <c:pt idx="112">
                  <c:v>45519</c:v>
                </c:pt>
                <c:pt idx="113">
                  <c:v>45518</c:v>
                </c:pt>
                <c:pt idx="114">
                  <c:v>45517</c:v>
                </c:pt>
                <c:pt idx="115">
                  <c:v>45516</c:v>
                </c:pt>
                <c:pt idx="116">
                  <c:v>45513</c:v>
                </c:pt>
                <c:pt idx="117">
                  <c:v>45512</c:v>
                </c:pt>
                <c:pt idx="118">
                  <c:v>45511</c:v>
                </c:pt>
                <c:pt idx="119">
                  <c:v>45510</c:v>
                </c:pt>
                <c:pt idx="120">
                  <c:v>45509</c:v>
                </c:pt>
                <c:pt idx="121">
                  <c:v>45506</c:v>
                </c:pt>
                <c:pt idx="122">
                  <c:v>45505</c:v>
                </c:pt>
                <c:pt idx="123">
                  <c:v>45504</c:v>
                </c:pt>
                <c:pt idx="124">
                  <c:v>45503</c:v>
                </c:pt>
                <c:pt idx="125">
                  <c:v>45502</c:v>
                </c:pt>
                <c:pt idx="126">
                  <c:v>45499</c:v>
                </c:pt>
                <c:pt idx="127">
                  <c:v>45498</c:v>
                </c:pt>
                <c:pt idx="128">
                  <c:v>45497</c:v>
                </c:pt>
                <c:pt idx="129">
                  <c:v>45496</c:v>
                </c:pt>
                <c:pt idx="130">
                  <c:v>45495</c:v>
                </c:pt>
                <c:pt idx="131">
                  <c:v>45492</c:v>
                </c:pt>
                <c:pt idx="132">
                  <c:v>45491</c:v>
                </c:pt>
                <c:pt idx="133">
                  <c:v>45490</c:v>
                </c:pt>
                <c:pt idx="134">
                  <c:v>45489</c:v>
                </c:pt>
                <c:pt idx="135">
                  <c:v>45488</c:v>
                </c:pt>
                <c:pt idx="136">
                  <c:v>45485</c:v>
                </c:pt>
                <c:pt idx="137">
                  <c:v>45484</c:v>
                </c:pt>
                <c:pt idx="138">
                  <c:v>45483</c:v>
                </c:pt>
                <c:pt idx="139">
                  <c:v>45482</c:v>
                </c:pt>
                <c:pt idx="140">
                  <c:v>45481</c:v>
                </c:pt>
                <c:pt idx="141">
                  <c:v>45478</c:v>
                </c:pt>
                <c:pt idx="142">
                  <c:v>45477</c:v>
                </c:pt>
                <c:pt idx="143">
                  <c:v>45476</c:v>
                </c:pt>
                <c:pt idx="144">
                  <c:v>45475</c:v>
                </c:pt>
                <c:pt idx="145">
                  <c:v>45474</c:v>
                </c:pt>
                <c:pt idx="146">
                  <c:v>45471</c:v>
                </c:pt>
                <c:pt idx="147">
                  <c:v>45470</c:v>
                </c:pt>
                <c:pt idx="148">
                  <c:v>45469</c:v>
                </c:pt>
                <c:pt idx="149">
                  <c:v>45468</c:v>
                </c:pt>
                <c:pt idx="150">
                  <c:v>45467</c:v>
                </c:pt>
                <c:pt idx="151">
                  <c:v>45464</c:v>
                </c:pt>
                <c:pt idx="152">
                  <c:v>45463</c:v>
                </c:pt>
                <c:pt idx="153">
                  <c:v>45462</c:v>
                </c:pt>
                <c:pt idx="154">
                  <c:v>45457</c:v>
                </c:pt>
                <c:pt idx="155">
                  <c:v>45456</c:v>
                </c:pt>
                <c:pt idx="156">
                  <c:v>45455</c:v>
                </c:pt>
                <c:pt idx="157">
                  <c:v>45454</c:v>
                </c:pt>
                <c:pt idx="158">
                  <c:v>45453</c:v>
                </c:pt>
                <c:pt idx="159">
                  <c:v>45450</c:v>
                </c:pt>
                <c:pt idx="160">
                  <c:v>45449</c:v>
                </c:pt>
                <c:pt idx="161">
                  <c:v>45448</c:v>
                </c:pt>
                <c:pt idx="162">
                  <c:v>45447</c:v>
                </c:pt>
                <c:pt idx="163">
                  <c:v>45446</c:v>
                </c:pt>
                <c:pt idx="164">
                  <c:v>45443</c:v>
                </c:pt>
                <c:pt idx="165">
                  <c:v>45442</c:v>
                </c:pt>
                <c:pt idx="166">
                  <c:v>45441</c:v>
                </c:pt>
                <c:pt idx="167">
                  <c:v>45440</c:v>
                </c:pt>
                <c:pt idx="168">
                  <c:v>45439</c:v>
                </c:pt>
                <c:pt idx="169">
                  <c:v>45436</c:v>
                </c:pt>
                <c:pt idx="170">
                  <c:v>45435</c:v>
                </c:pt>
                <c:pt idx="171">
                  <c:v>45434</c:v>
                </c:pt>
                <c:pt idx="172">
                  <c:v>45433</c:v>
                </c:pt>
                <c:pt idx="173">
                  <c:v>45432</c:v>
                </c:pt>
                <c:pt idx="174">
                  <c:v>45429</c:v>
                </c:pt>
                <c:pt idx="175">
                  <c:v>45428</c:v>
                </c:pt>
                <c:pt idx="176">
                  <c:v>45427</c:v>
                </c:pt>
                <c:pt idx="177">
                  <c:v>45426</c:v>
                </c:pt>
                <c:pt idx="178">
                  <c:v>45425</c:v>
                </c:pt>
                <c:pt idx="179">
                  <c:v>45422</c:v>
                </c:pt>
                <c:pt idx="180">
                  <c:v>45420</c:v>
                </c:pt>
                <c:pt idx="181">
                  <c:v>45419</c:v>
                </c:pt>
                <c:pt idx="182">
                  <c:v>45418</c:v>
                </c:pt>
                <c:pt idx="183">
                  <c:v>45385</c:v>
                </c:pt>
                <c:pt idx="184">
                  <c:v>45384</c:v>
                </c:pt>
                <c:pt idx="185">
                  <c:v>45383</c:v>
                </c:pt>
                <c:pt idx="186">
                  <c:v>45412</c:v>
                </c:pt>
                <c:pt idx="187">
                  <c:v>45411</c:v>
                </c:pt>
                <c:pt idx="188">
                  <c:v>45408</c:v>
                </c:pt>
                <c:pt idx="189">
                  <c:v>45407</c:v>
                </c:pt>
                <c:pt idx="190">
                  <c:v>45406</c:v>
                </c:pt>
                <c:pt idx="191">
                  <c:v>45405</c:v>
                </c:pt>
              </c:numCache>
            </c:numRef>
          </c:cat>
          <c:val>
            <c:numRef>
              <c:f>'Объём торгов'!$B$16:$B$207</c:f>
              <c:numCache>
                <c:formatCode>#\ ##0.0</c:formatCode>
                <c:ptCount val="192"/>
                <c:pt idx="0">
                  <c:v>12967</c:v>
                </c:pt>
                <c:pt idx="1">
                  <c:v>12955</c:v>
                </c:pt>
                <c:pt idx="2">
                  <c:v>12962</c:v>
                </c:pt>
                <c:pt idx="3">
                  <c:v>12971</c:v>
                </c:pt>
                <c:pt idx="4">
                  <c:v>12972</c:v>
                </c:pt>
                <c:pt idx="5">
                  <c:v>12957</c:v>
                </c:pt>
                <c:pt idx="6">
                  <c:v>12940</c:v>
                </c:pt>
                <c:pt idx="7">
                  <c:v>12962</c:v>
                </c:pt>
                <c:pt idx="8">
                  <c:v>12948</c:v>
                </c:pt>
                <c:pt idx="9">
                  <c:v>12930</c:v>
                </c:pt>
                <c:pt idx="10">
                  <c:v>12942</c:v>
                </c:pt>
                <c:pt idx="11">
                  <c:v>12915</c:v>
                </c:pt>
                <c:pt idx="12">
                  <c:v>12904</c:v>
                </c:pt>
                <c:pt idx="13">
                  <c:v>12904</c:v>
                </c:pt>
                <c:pt idx="14">
                  <c:v>12904</c:v>
                </c:pt>
                <c:pt idx="15">
                  <c:v>12904</c:v>
                </c:pt>
                <c:pt idx="16">
                  <c:v>12904</c:v>
                </c:pt>
                <c:pt idx="17">
                  <c:v>12904</c:v>
                </c:pt>
                <c:pt idx="18">
                  <c:v>12904</c:v>
                </c:pt>
                <c:pt idx="19">
                  <c:v>12920</c:v>
                </c:pt>
                <c:pt idx="20">
                  <c:v>12928</c:v>
                </c:pt>
                <c:pt idx="21">
                  <c:v>12909</c:v>
                </c:pt>
                <c:pt idx="22">
                  <c:v>12902</c:v>
                </c:pt>
                <c:pt idx="23">
                  <c:v>12893</c:v>
                </c:pt>
                <c:pt idx="24">
                  <c:v>12875</c:v>
                </c:pt>
                <c:pt idx="25">
                  <c:v>12861</c:v>
                </c:pt>
                <c:pt idx="26">
                  <c:v>12869</c:v>
                </c:pt>
                <c:pt idx="27">
                  <c:v>12874</c:v>
                </c:pt>
                <c:pt idx="28">
                  <c:v>12880</c:v>
                </c:pt>
                <c:pt idx="29">
                  <c:v>12860</c:v>
                </c:pt>
                <c:pt idx="30">
                  <c:v>12865</c:v>
                </c:pt>
                <c:pt idx="31">
                  <c:v>12874</c:v>
                </c:pt>
                <c:pt idx="32">
                  <c:v>12874</c:v>
                </c:pt>
                <c:pt idx="33">
                  <c:v>12861</c:v>
                </c:pt>
                <c:pt idx="34">
                  <c:v>12837</c:v>
                </c:pt>
                <c:pt idx="35">
                  <c:v>12813</c:v>
                </c:pt>
                <c:pt idx="36">
                  <c:v>12825</c:v>
                </c:pt>
                <c:pt idx="37">
                  <c:v>12838</c:v>
                </c:pt>
                <c:pt idx="38">
                  <c:v>12852</c:v>
                </c:pt>
                <c:pt idx="39">
                  <c:v>12865</c:v>
                </c:pt>
                <c:pt idx="40">
                  <c:v>12848</c:v>
                </c:pt>
                <c:pt idx="41">
                  <c:v>12820</c:v>
                </c:pt>
                <c:pt idx="42">
                  <c:v>12814</c:v>
                </c:pt>
                <c:pt idx="43">
                  <c:v>12829</c:v>
                </c:pt>
                <c:pt idx="44">
                  <c:v>12844</c:v>
                </c:pt>
                <c:pt idx="45">
                  <c:v>12855</c:v>
                </c:pt>
                <c:pt idx="46">
                  <c:v>12844</c:v>
                </c:pt>
                <c:pt idx="47">
                  <c:v>12825</c:v>
                </c:pt>
                <c:pt idx="48">
                  <c:v>12812</c:v>
                </c:pt>
                <c:pt idx="49">
                  <c:v>12800</c:v>
                </c:pt>
                <c:pt idx="50">
                  <c:v>12808</c:v>
                </c:pt>
                <c:pt idx="51">
                  <c:v>12793</c:v>
                </c:pt>
                <c:pt idx="52">
                  <c:v>12803</c:v>
                </c:pt>
                <c:pt idx="53">
                  <c:v>12822</c:v>
                </c:pt>
                <c:pt idx="54">
                  <c:v>12809</c:v>
                </c:pt>
                <c:pt idx="55">
                  <c:v>12786</c:v>
                </c:pt>
                <c:pt idx="56">
                  <c:v>12774</c:v>
                </c:pt>
                <c:pt idx="57">
                  <c:v>12790</c:v>
                </c:pt>
                <c:pt idx="58">
                  <c:v>12795</c:v>
                </c:pt>
                <c:pt idx="59">
                  <c:v>12780</c:v>
                </c:pt>
                <c:pt idx="60">
                  <c:v>12774</c:v>
                </c:pt>
                <c:pt idx="61">
                  <c:v>12784.9</c:v>
                </c:pt>
                <c:pt idx="62">
                  <c:v>12794</c:v>
                </c:pt>
                <c:pt idx="63">
                  <c:v>12808</c:v>
                </c:pt>
                <c:pt idx="64">
                  <c:v>12816</c:v>
                </c:pt>
                <c:pt idx="65">
                  <c:v>12827</c:v>
                </c:pt>
                <c:pt idx="66">
                  <c:v>12817</c:v>
                </c:pt>
                <c:pt idx="67">
                  <c:v>12805</c:v>
                </c:pt>
                <c:pt idx="68">
                  <c:v>12815</c:v>
                </c:pt>
                <c:pt idx="69">
                  <c:v>12803</c:v>
                </c:pt>
                <c:pt idx="70">
                  <c:v>12777</c:v>
                </c:pt>
                <c:pt idx="71">
                  <c:v>12793</c:v>
                </c:pt>
                <c:pt idx="72">
                  <c:v>12803</c:v>
                </c:pt>
                <c:pt idx="73">
                  <c:v>12780</c:v>
                </c:pt>
                <c:pt idx="74">
                  <c:v>12768</c:v>
                </c:pt>
                <c:pt idx="75">
                  <c:v>12778</c:v>
                </c:pt>
                <c:pt idx="76">
                  <c:v>12787</c:v>
                </c:pt>
                <c:pt idx="77">
                  <c:v>12794</c:v>
                </c:pt>
                <c:pt idx="78">
                  <c:v>12775</c:v>
                </c:pt>
                <c:pt idx="79">
                  <c:v>12741</c:v>
                </c:pt>
                <c:pt idx="80">
                  <c:v>12757</c:v>
                </c:pt>
                <c:pt idx="81">
                  <c:v>12739</c:v>
                </c:pt>
                <c:pt idx="82">
                  <c:v>12739</c:v>
                </c:pt>
                <c:pt idx="83">
                  <c:v>12715</c:v>
                </c:pt>
                <c:pt idx="84">
                  <c:v>12736</c:v>
                </c:pt>
                <c:pt idx="85">
                  <c:v>12757</c:v>
                </c:pt>
                <c:pt idx="86">
                  <c:v>12754</c:v>
                </c:pt>
                <c:pt idx="87">
                  <c:v>12747</c:v>
                </c:pt>
                <c:pt idx="88">
                  <c:v>12729</c:v>
                </c:pt>
                <c:pt idx="89">
                  <c:v>12724</c:v>
                </c:pt>
                <c:pt idx="90">
                  <c:v>12739</c:v>
                </c:pt>
                <c:pt idx="91">
                  <c:v>12732</c:v>
                </c:pt>
                <c:pt idx="92">
                  <c:v>12729</c:v>
                </c:pt>
                <c:pt idx="93">
                  <c:v>12750</c:v>
                </c:pt>
                <c:pt idx="94">
                  <c:v>12741</c:v>
                </c:pt>
                <c:pt idx="95">
                  <c:v>12715</c:v>
                </c:pt>
                <c:pt idx="96">
                  <c:v>12686</c:v>
                </c:pt>
                <c:pt idx="97">
                  <c:v>12681</c:v>
                </c:pt>
                <c:pt idx="98">
                  <c:v>12700</c:v>
                </c:pt>
                <c:pt idx="99">
                  <c:v>12707</c:v>
                </c:pt>
                <c:pt idx="100">
                  <c:v>12650</c:v>
                </c:pt>
                <c:pt idx="101">
                  <c:v>12640</c:v>
                </c:pt>
                <c:pt idx="102">
                  <c:v>12625</c:v>
                </c:pt>
                <c:pt idx="103">
                  <c:v>12673</c:v>
                </c:pt>
                <c:pt idx="104">
                  <c:v>12652</c:v>
                </c:pt>
                <c:pt idx="105">
                  <c:v>12669</c:v>
                </c:pt>
                <c:pt idx="106">
                  <c:v>12688</c:v>
                </c:pt>
                <c:pt idx="107">
                  <c:v>12677</c:v>
                </c:pt>
                <c:pt idx="108">
                  <c:v>12645</c:v>
                </c:pt>
                <c:pt idx="109">
                  <c:v>12625</c:v>
                </c:pt>
                <c:pt idx="110">
                  <c:v>12640</c:v>
                </c:pt>
                <c:pt idx="111">
                  <c:v>12685</c:v>
                </c:pt>
                <c:pt idx="112">
                  <c:v>12650</c:v>
                </c:pt>
                <c:pt idx="113">
                  <c:v>12622</c:v>
                </c:pt>
                <c:pt idx="114">
                  <c:v>12619</c:v>
                </c:pt>
                <c:pt idx="115">
                  <c:v>12630</c:v>
                </c:pt>
                <c:pt idx="116">
                  <c:v>12643</c:v>
                </c:pt>
                <c:pt idx="117">
                  <c:v>12651.9</c:v>
                </c:pt>
                <c:pt idx="118">
                  <c:v>12640</c:v>
                </c:pt>
                <c:pt idx="119">
                  <c:v>12615.9</c:v>
                </c:pt>
                <c:pt idx="120">
                  <c:v>12594</c:v>
                </c:pt>
                <c:pt idx="121">
                  <c:v>12581</c:v>
                </c:pt>
                <c:pt idx="122">
                  <c:v>12574</c:v>
                </c:pt>
                <c:pt idx="123">
                  <c:v>12544</c:v>
                </c:pt>
                <c:pt idx="124">
                  <c:v>12541</c:v>
                </c:pt>
                <c:pt idx="125">
                  <c:v>12574</c:v>
                </c:pt>
                <c:pt idx="126">
                  <c:v>12599</c:v>
                </c:pt>
                <c:pt idx="127">
                  <c:v>12634</c:v>
                </c:pt>
                <c:pt idx="128">
                  <c:v>12625</c:v>
                </c:pt>
                <c:pt idx="129">
                  <c:v>12584</c:v>
                </c:pt>
                <c:pt idx="130">
                  <c:v>12593</c:v>
                </c:pt>
                <c:pt idx="131">
                  <c:v>12610</c:v>
                </c:pt>
                <c:pt idx="132">
                  <c:v>12601</c:v>
                </c:pt>
                <c:pt idx="133">
                  <c:v>12587</c:v>
                </c:pt>
                <c:pt idx="134">
                  <c:v>12586</c:v>
                </c:pt>
                <c:pt idx="135">
                  <c:v>12607</c:v>
                </c:pt>
                <c:pt idx="136">
                  <c:v>12635</c:v>
                </c:pt>
                <c:pt idx="137">
                  <c:v>12655</c:v>
                </c:pt>
                <c:pt idx="138">
                  <c:v>12632</c:v>
                </c:pt>
                <c:pt idx="139">
                  <c:v>12630</c:v>
                </c:pt>
                <c:pt idx="140">
                  <c:v>12618</c:v>
                </c:pt>
                <c:pt idx="141">
                  <c:v>12603</c:v>
                </c:pt>
                <c:pt idx="142">
                  <c:v>12600</c:v>
                </c:pt>
                <c:pt idx="143">
                  <c:v>12584</c:v>
                </c:pt>
                <c:pt idx="144">
                  <c:v>12571</c:v>
                </c:pt>
                <c:pt idx="145">
                  <c:v>12585</c:v>
                </c:pt>
                <c:pt idx="146">
                  <c:v>12557</c:v>
                </c:pt>
                <c:pt idx="147">
                  <c:v>12555</c:v>
                </c:pt>
                <c:pt idx="148">
                  <c:v>12580</c:v>
                </c:pt>
                <c:pt idx="149">
                  <c:v>12586</c:v>
                </c:pt>
                <c:pt idx="150">
                  <c:v>12599</c:v>
                </c:pt>
                <c:pt idx="151">
                  <c:v>12626</c:v>
                </c:pt>
                <c:pt idx="152">
                  <c:v>12639</c:v>
                </c:pt>
                <c:pt idx="153">
                  <c:v>12643</c:v>
                </c:pt>
                <c:pt idx="154">
                  <c:v>12627</c:v>
                </c:pt>
                <c:pt idx="155">
                  <c:v>12614</c:v>
                </c:pt>
                <c:pt idx="156">
                  <c:v>12621</c:v>
                </c:pt>
                <c:pt idx="157">
                  <c:v>12598</c:v>
                </c:pt>
                <c:pt idx="158">
                  <c:v>12634</c:v>
                </c:pt>
                <c:pt idx="159">
                  <c:v>12646.9</c:v>
                </c:pt>
                <c:pt idx="160">
                  <c:v>12660.2</c:v>
                </c:pt>
                <c:pt idx="161">
                  <c:v>12676</c:v>
                </c:pt>
                <c:pt idx="162">
                  <c:v>12665</c:v>
                </c:pt>
                <c:pt idx="163">
                  <c:v>12614</c:v>
                </c:pt>
                <c:pt idx="164">
                  <c:v>12599.85</c:v>
                </c:pt>
                <c:pt idx="165">
                  <c:v>12619.83</c:v>
                </c:pt>
                <c:pt idx="166">
                  <c:v>12640.87</c:v>
                </c:pt>
                <c:pt idx="167">
                  <c:v>12650.09</c:v>
                </c:pt>
                <c:pt idx="168">
                  <c:v>12679.99</c:v>
                </c:pt>
                <c:pt idx="169">
                  <c:v>12704.68</c:v>
                </c:pt>
                <c:pt idx="170">
                  <c:v>12712.88</c:v>
                </c:pt>
                <c:pt idx="171">
                  <c:v>12724.72</c:v>
                </c:pt>
                <c:pt idx="172">
                  <c:v>12708.86</c:v>
                </c:pt>
                <c:pt idx="173">
                  <c:v>12687.7</c:v>
                </c:pt>
                <c:pt idx="174">
                  <c:v>12694.87</c:v>
                </c:pt>
                <c:pt idx="175">
                  <c:v>12720</c:v>
                </c:pt>
                <c:pt idx="176">
                  <c:v>12727.96</c:v>
                </c:pt>
                <c:pt idx="177">
                  <c:v>12710.95</c:v>
                </c:pt>
                <c:pt idx="178">
                  <c:v>12699.85</c:v>
                </c:pt>
                <c:pt idx="179">
                  <c:v>12718.08</c:v>
                </c:pt>
                <c:pt idx="180">
                  <c:v>12695</c:v>
                </c:pt>
                <c:pt idx="181">
                  <c:v>12683.99</c:v>
                </c:pt>
                <c:pt idx="182">
                  <c:v>12648.12</c:v>
                </c:pt>
                <c:pt idx="183">
                  <c:v>12675</c:v>
                </c:pt>
                <c:pt idx="184">
                  <c:v>12670.05</c:v>
                </c:pt>
                <c:pt idx="185">
                  <c:v>12632.22</c:v>
                </c:pt>
                <c:pt idx="186">
                  <c:v>12610.17</c:v>
                </c:pt>
                <c:pt idx="187">
                  <c:v>12620.01</c:v>
                </c:pt>
                <c:pt idx="188">
                  <c:v>12662.01</c:v>
                </c:pt>
                <c:pt idx="189">
                  <c:v>12640.21</c:v>
                </c:pt>
                <c:pt idx="190">
                  <c:v>12689.97</c:v>
                </c:pt>
                <c:pt idx="191">
                  <c:v>12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83-484D-B6A6-8F8E10ECFA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accent5">
                  <a:lumMod val="50000"/>
                  <a:alpha val="33000"/>
                </a:schemeClr>
              </a:solidFill>
              <a:round/>
            </a:ln>
            <a:effectLst/>
          </c:spPr>
        </c:dropLines>
        <c:smooth val="0"/>
        <c:axId val="529796000"/>
        <c:axId val="529808064"/>
      </c:lineChart>
      <c:dateAx>
        <c:axId val="52979600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29808064"/>
        <c:crosses val="autoZero"/>
        <c:auto val="1"/>
        <c:lblOffset val="100"/>
        <c:baseTimeUnit val="days"/>
      </c:dateAx>
      <c:valAx>
        <c:axId val="529808064"/>
        <c:scaling>
          <c:orientation val="minMax"/>
        </c:scaling>
        <c:delete val="0"/>
        <c:axPos val="l"/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29796000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400" b="1" i="0" u="none" strike="noStrike" baseline="0" dirty="0">
                <a:effectLst/>
              </a:rPr>
              <a:t>Динамика </a:t>
            </a:r>
            <a:r>
              <a:rPr lang="en-US" sz="1400" dirty="0"/>
              <a:t>USD-RUB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2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2205529523533489E-2"/>
          <c:y val="0.15341008844482676"/>
          <c:w val="0.85646193823368377"/>
          <c:h val="0.56035730827764174"/>
        </c:manualLayout>
      </c:layout>
      <c:lineChart>
        <c:grouping val="standard"/>
        <c:varyColors val="0"/>
        <c:ser>
          <c:idx val="1"/>
          <c:order val="0"/>
          <c:spPr>
            <a:ln w="317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101"/>
            <c:marker>
              <c:symbol val="none"/>
            </c:marker>
            <c:bubble3D val="0"/>
            <c:spPr>
              <a:ln w="31750" cap="rnd">
                <a:solidFill>
                  <a:srgbClr val="002060">
                    <a:lumMod val="50000"/>
                    <a:lumOff val="50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F7-4DA9-A351-AA49E30FCAD8}"/>
              </c:ext>
            </c:extLst>
          </c:dPt>
          <c:dLbls>
            <c:dLbl>
              <c:idx val="142"/>
              <c:layout>
                <c:manualLayout>
                  <c:x val="-4.1884954891222795E-3"/>
                  <c:y val="8.674788527009137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8F7-4DA9-A351-AA49E30FCA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70C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USD-RUB'!$B$20:$B$175</c:f>
              <c:numCache>
                <c:formatCode>m/d/yyyy</c:formatCode>
                <c:ptCount val="156"/>
                <c:pt idx="0">
                  <c:v>45674</c:v>
                </c:pt>
                <c:pt idx="1">
                  <c:v>45673</c:v>
                </c:pt>
                <c:pt idx="2">
                  <c:v>45672</c:v>
                </c:pt>
                <c:pt idx="3">
                  <c:v>45671</c:v>
                </c:pt>
                <c:pt idx="4">
                  <c:v>45670</c:v>
                </c:pt>
                <c:pt idx="5">
                  <c:v>45667</c:v>
                </c:pt>
                <c:pt idx="6">
                  <c:v>45666</c:v>
                </c:pt>
                <c:pt idx="7">
                  <c:v>45665</c:v>
                </c:pt>
                <c:pt idx="8">
                  <c:v>45664</c:v>
                </c:pt>
                <c:pt idx="9">
                  <c:v>45663</c:v>
                </c:pt>
                <c:pt idx="10">
                  <c:v>45660</c:v>
                </c:pt>
                <c:pt idx="11">
                  <c:v>45659</c:v>
                </c:pt>
                <c:pt idx="12">
                  <c:v>45658</c:v>
                </c:pt>
                <c:pt idx="13">
                  <c:v>45657</c:v>
                </c:pt>
                <c:pt idx="14">
                  <c:v>45656</c:v>
                </c:pt>
                <c:pt idx="15">
                  <c:v>45655</c:v>
                </c:pt>
                <c:pt idx="16">
                  <c:v>45654</c:v>
                </c:pt>
                <c:pt idx="17">
                  <c:v>45653</c:v>
                </c:pt>
                <c:pt idx="18">
                  <c:v>45652</c:v>
                </c:pt>
                <c:pt idx="19">
                  <c:v>45651</c:v>
                </c:pt>
                <c:pt idx="20">
                  <c:v>45650</c:v>
                </c:pt>
                <c:pt idx="21">
                  <c:v>45649</c:v>
                </c:pt>
                <c:pt idx="22">
                  <c:v>45646</c:v>
                </c:pt>
                <c:pt idx="23">
                  <c:v>45645</c:v>
                </c:pt>
                <c:pt idx="24">
                  <c:v>45644</c:v>
                </c:pt>
                <c:pt idx="25">
                  <c:v>45643</c:v>
                </c:pt>
                <c:pt idx="26">
                  <c:v>45642</c:v>
                </c:pt>
                <c:pt idx="27">
                  <c:v>45639</c:v>
                </c:pt>
                <c:pt idx="28">
                  <c:v>45638</c:v>
                </c:pt>
                <c:pt idx="29">
                  <c:v>45637</c:v>
                </c:pt>
                <c:pt idx="30">
                  <c:v>45636</c:v>
                </c:pt>
                <c:pt idx="31">
                  <c:v>45635</c:v>
                </c:pt>
                <c:pt idx="32">
                  <c:v>45632</c:v>
                </c:pt>
                <c:pt idx="33">
                  <c:v>45631</c:v>
                </c:pt>
                <c:pt idx="34">
                  <c:v>45630</c:v>
                </c:pt>
                <c:pt idx="35">
                  <c:v>45629</c:v>
                </c:pt>
                <c:pt idx="36">
                  <c:v>45628</c:v>
                </c:pt>
                <c:pt idx="37">
                  <c:v>45625</c:v>
                </c:pt>
                <c:pt idx="38">
                  <c:v>45624</c:v>
                </c:pt>
                <c:pt idx="39">
                  <c:v>45623</c:v>
                </c:pt>
                <c:pt idx="40">
                  <c:v>45622</c:v>
                </c:pt>
                <c:pt idx="41">
                  <c:v>45621</c:v>
                </c:pt>
                <c:pt idx="42">
                  <c:v>45618</c:v>
                </c:pt>
                <c:pt idx="43">
                  <c:v>45617</c:v>
                </c:pt>
                <c:pt idx="44">
                  <c:v>45616</c:v>
                </c:pt>
                <c:pt idx="45">
                  <c:v>45615</c:v>
                </c:pt>
                <c:pt idx="46">
                  <c:v>45614</c:v>
                </c:pt>
                <c:pt idx="47">
                  <c:v>45611</c:v>
                </c:pt>
                <c:pt idx="48">
                  <c:v>45610</c:v>
                </c:pt>
                <c:pt idx="49">
                  <c:v>45609</c:v>
                </c:pt>
                <c:pt idx="50">
                  <c:v>45608</c:v>
                </c:pt>
                <c:pt idx="51">
                  <c:v>45607</c:v>
                </c:pt>
                <c:pt idx="52">
                  <c:v>45604</c:v>
                </c:pt>
                <c:pt idx="53">
                  <c:v>45603</c:v>
                </c:pt>
                <c:pt idx="54">
                  <c:v>45602</c:v>
                </c:pt>
                <c:pt idx="55">
                  <c:v>45601</c:v>
                </c:pt>
                <c:pt idx="56">
                  <c:v>45600</c:v>
                </c:pt>
                <c:pt idx="57">
                  <c:v>45597</c:v>
                </c:pt>
                <c:pt idx="58">
                  <c:v>45596</c:v>
                </c:pt>
                <c:pt idx="59">
                  <c:v>45595</c:v>
                </c:pt>
                <c:pt idx="60">
                  <c:v>45594</c:v>
                </c:pt>
                <c:pt idx="61">
                  <c:v>45593</c:v>
                </c:pt>
                <c:pt idx="62">
                  <c:v>45590</c:v>
                </c:pt>
                <c:pt idx="63">
                  <c:v>45589</c:v>
                </c:pt>
                <c:pt idx="64">
                  <c:v>45588</c:v>
                </c:pt>
                <c:pt idx="65">
                  <c:v>45587</c:v>
                </c:pt>
                <c:pt idx="66">
                  <c:v>45586</c:v>
                </c:pt>
                <c:pt idx="67">
                  <c:v>45583</c:v>
                </c:pt>
                <c:pt idx="68">
                  <c:v>45582</c:v>
                </c:pt>
                <c:pt idx="69">
                  <c:v>45581</c:v>
                </c:pt>
                <c:pt idx="70">
                  <c:v>45580</c:v>
                </c:pt>
                <c:pt idx="71">
                  <c:v>45581</c:v>
                </c:pt>
                <c:pt idx="72">
                  <c:v>45580</c:v>
                </c:pt>
                <c:pt idx="73">
                  <c:v>45579</c:v>
                </c:pt>
                <c:pt idx="74">
                  <c:v>45576</c:v>
                </c:pt>
                <c:pt idx="75">
                  <c:v>45575</c:v>
                </c:pt>
                <c:pt idx="76">
                  <c:v>45574</c:v>
                </c:pt>
                <c:pt idx="77">
                  <c:v>45573</c:v>
                </c:pt>
                <c:pt idx="78">
                  <c:v>45572</c:v>
                </c:pt>
                <c:pt idx="79">
                  <c:v>45569</c:v>
                </c:pt>
                <c:pt idx="80">
                  <c:v>45568</c:v>
                </c:pt>
                <c:pt idx="81">
                  <c:v>45567</c:v>
                </c:pt>
                <c:pt idx="82">
                  <c:v>45566</c:v>
                </c:pt>
                <c:pt idx="83">
                  <c:v>45565</c:v>
                </c:pt>
                <c:pt idx="84">
                  <c:v>45562</c:v>
                </c:pt>
                <c:pt idx="85">
                  <c:v>45561</c:v>
                </c:pt>
                <c:pt idx="86">
                  <c:v>45560</c:v>
                </c:pt>
                <c:pt idx="87">
                  <c:v>45559</c:v>
                </c:pt>
                <c:pt idx="88">
                  <c:v>45558</c:v>
                </c:pt>
                <c:pt idx="89">
                  <c:v>45555</c:v>
                </c:pt>
                <c:pt idx="90">
                  <c:v>45554</c:v>
                </c:pt>
                <c:pt idx="91">
                  <c:v>45553</c:v>
                </c:pt>
                <c:pt idx="92">
                  <c:v>45552</c:v>
                </c:pt>
                <c:pt idx="93">
                  <c:v>45551</c:v>
                </c:pt>
                <c:pt idx="94">
                  <c:v>45548</c:v>
                </c:pt>
                <c:pt idx="95">
                  <c:v>45547</c:v>
                </c:pt>
                <c:pt idx="96">
                  <c:v>45546</c:v>
                </c:pt>
                <c:pt idx="97">
                  <c:v>45545</c:v>
                </c:pt>
                <c:pt idx="98">
                  <c:v>45544</c:v>
                </c:pt>
                <c:pt idx="99">
                  <c:v>45541</c:v>
                </c:pt>
                <c:pt idx="100">
                  <c:v>45540</c:v>
                </c:pt>
                <c:pt idx="101">
                  <c:v>45539</c:v>
                </c:pt>
                <c:pt idx="102">
                  <c:v>45538</c:v>
                </c:pt>
                <c:pt idx="103">
                  <c:v>45537</c:v>
                </c:pt>
                <c:pt idx="104">
                  <c:v>45534</c:v>
                </c:pt>
                <c:pt idx="105">
                  <c:v>45533</c:v>
                </c:pt>
                <c:pt idx="106">
                  <c:v>45532</c:v>
                </c:pt>
                <c:pt idx="107">
                  <c:v>45531</c:v>
                </c:pt>
                <c:pt idx="108">
                  <c:v>45530</c:v>
                </c:pt>
                <c:pt idx="109">
                  <c:v>45527</c:v>
                </c:pt>
                <c:pt idx="110">
                  <c:v>45526</c:v>
                </c:pt>
                <c:pt idx="111">
                  <c:v>45525</c:v>
                </c:pt>
                <c:pt idx="112">
                  <c:v>45524</c:v>
                </c:pt>
                <c:pt idx="113">
                  <c:v>45523</c:v>
                </c:pt>
                <c:pt idx="114">
                  <c:v>45520</c:v>
                </c:pt>
                <c:pt idx="115">
                  <c:v>45519</c:v>
                </c:pt>
                <c:pt idx="116">
                  <c:v>45518</c:v>
                </c:pt>
                <c:pt idx="117">
                  <c:v>45517</c:v>
                </c:pt>
                <c:pt idx="118">
                  <c:v>45516</c:v>
                </c:pt>
                <c:pt idx="119">
                  <c:v>45513</c:v>
                </c:pt>
                <c:pt idx="120">
                  <c:v>45512</c:v>
                </c:pt>
                <c:pt idx="121">
                  <c:v>45511</c:v>
                </c:pt>
                <c:pt idx="122">
                  <c:v>45510</c:v>
                </c:pt>
                <c:pt idx="123">
                  <c:v>45509</c:v>
                </c:pt>
                <c:pt idx="124">
                  <c:v>45506</c:v>
                </c:pt>
                <c:pt idx="125">
                  <c:v>45505</c:v>
                </c:pt>
                <c:pt idx="126">
                  <c:v>45504</c:v>
                </c:pt>
                <c:pt idx="127">
                  <c:v>45503</c:v>
                </c:pt>
                <c:pt idx="128">
                  <c:v>45502</c:v>
                </c:pt>
                <c:pt idx="129">
                  <c:v>45499</c:v>
                </c:pt>
                <c:pt idx="130">
                  <c:v>45498</c:v>
                </c:pt>
                <c:pt idx="131">
                  <c:v>45497</c:v>
                </c:pt>
                <c:pt idx="132">
                  <c:v>45496</c:v>
                </c:pt>
                <c:pt idx="133">
                  <c:v>45495</c:v>
                </c:pt>
                <c:pt idx="134">
                  <c:v>45492</c:v>
                </c:pt>
                <c:pt idx="135">
                  <c:v>45491</c:v>
                </c:pt>
                <c:pt idx="136">
                  <c:v>45490</c:v>
                </c:pt>
                <c:pt idx="137">
                  <c:v>45489</c:v>
                </c:pt>
                <c:pt idx="138">
                  <c:v>45488</c:v>
                </c:pt>
                <c:pt idx="139">
                  <c:v>45485</c:v>
                </c:pt>
                <c:pt idx="140">
                  <c:v>45484</c:v>
                </c:pt>
                <c:pt idx="141">
                  <c:v>45483</c:v>
                </c:pt>
                <c:pt idx="142">
                  <c:v>45482</c:v>
                </c:pt>
                <c:pt idx="143">
                  <c:v>45481</c:v>
                </c:pt>
                <c:pt idx="144">
                  <c:v>45478</c:v>
                </c:pt>
                <c:pt idx="145">
                  <c:v>45477</c:v>
                </c:pt>
                <c:pt idx="146">
                  <c:v>45476</c:v>
                </c:pt>
                <c:pt idx="147">
                  <c:v>45475</c:v>
                </c:pt>
                <c:pt idx="148">
                  <c:v>45474</c:v>
                </c:pt>
                <c:pt idx="149">
                  <c:v>45471</c:v>
                </c:pt>
                <c:pt idx="150">
                  <c:v>45470</c:v>
                </c:pt>
                <c:pt idx="151">
                  <c:v>45469</c:v>
                </c:pt>
                <c:pt idx="152">
                  <c:v>45468</c:v>
                </c:pt>
                <c:pt idx="153">
                  <c:v>45467</c:v>
                </c:pt>
                <c:pt idx="154">
                  <c:v>45464</c:v>
                </c:pt>
                <c:pt idx="155">
                  <c:v>45463</c:v>
                </c:pt>
              </c:numCache>
            </c:numRef>
          </c:cat>
          <c:val>
            <c:numRef>
              <c:f>'USD-RUB'!$C$20:$C$162</c:f>
              <c:numCache>
                <c:formatCode>General</c:formatCode>
                <c:ptCount val="143"/>
                <c:pt idx="0">
                  <c:v>102.5</c:v>
                </c:pt>
                <c:pt idx="1">
                  <c:v>102.4</c:v>
                </c:pt>
                <c:pt idx="2">
                  <c:v>102.5</c:v>
                </c:pt>
                <c:pt idx="3">
                  <c:v>102.7</c:v>
                </c:pt>
                <c:pt idx="4">
                  <c:v>101.5</c:v>
                </c:pt>
                <c:pt idx="5">
                  <c:v>101.7</c:v>
                </c:pt>
                <c:pt idx="6">
                  <c:v>102.2</c:v>
                </c:pt>
                <c:pt idx="7">
                  <c:v>104.4</c:v>
                </c:pt>
                <c:pt idx="8">
                  <c:v>107.2</c:v>
                </c:pt>
                <c:pt idx="9">
                  <c:v>107.4</c:v>
                </c:pt>
                <c:pt idx="10">
                  <c:v>110.4</c:v>
                </c:pt>
                <c:pt idx="11">
                  <c:v>110.9</c:v>
                </c:pt>
                <c:pt idx="12">
                  <c:v>113.5</c:v>
                </c:pt>
                <c:pt idx="13">
                  <c:v>113.5</c:v>
                </c:pt>
                <c:pt idx="14">
                  <c:v>110.5</c:v>
                </c:pt>
                <c:pt idx="15">
                  <c:v>105.7</c:v>
                </c:pt>
                <c:pt idx="16">
                  <c:v>100</c:v>
                </c:pt>
                <c:pt idx="17">
                  <c:v>99.5</c:v>
                </c:pt>
                <c:pt idx="18">
                  <c:v>99.9</c:v>
                </c:pt>
                <c:pt idx="19">
                  <c:v>102.5</c:v>
                </c:pt>
                <c:pt idx="20">
                  <c:v>102.5</c:v>
                </c:pt>
                <c:pt idx="21">
                  <c:v>102.5</c:v>
                </c:pt>
                <c:pt idx="22">
                  <c:v>102.9</c:v>
                </c:pt>
                <c:pt idx="23">
                  <c:v>103.4</c:v>
                </c:pt>
                <c:pt idx="24">
                  <c:v>104.6</c:v>
                </c:pt>
                <c:pt idx="25">
                  <c:v>104.5</c:v>
                </c:pt>
                <c:pt idx="26">
                  <c:v>103.4</c:v>
                </c:pt>
                <c:pt idx="27">
                  <c:v>104.4</c:v>
                </c:pt>
                <c:pt idx="28">
                  <c:v>105.5</c:v>
                </c:pt>
                <c:pt idx="29">
                  <c:v>105.4</c:v>
                </c:pt>
                <c:pt idx="30">
                  <c:v>100.3</c:v>
                </c:pt>
                <c:pt idx="31">
                  <c:v>99.9</c:v>
                </c:pt>
                <c:pt idx="32">
                  <c:v>104.9</c:v>
                </c:pt>
                <c:pt idx="33">
                  <c:v>104.9</c:v>
                </c:pt>
                <c:pt idx="34">
                  <c:v>104.9</c:v>
                </c:pt>
                <c:pt idx="35">
                  <c:v>104.9</c:v>
                </c:pt>
                <c:pt idx="36">
                  <c:v>107.3</c:v>
                </c:pt>
                <c:pt idx="37">
                  <c:v>108.2</c:v>
                </c:pt>
                <c:pt idx="38">
                  <c:v>107.9</c:v>
                </c:pt>
                <c:pt idx="39">
                  <c:v>113.2</c:v>
                </c:pt>
                <c:pt idx="40">
                  <c:v>105.4</c:v>
                </c:pt>
                <c:pt idx="41">
                  <c:v>103.65</c:v>
                </c:pt>
                <c:pt idx="42">
                  <c:v>107.7</c:v>
                </c:pt>
                <c:pt idx="43">
                  <c:v>101.3</c:v>
                </c:pt>
                <c:pt idx="44">
                  <c:v>100.6</c:v>
                </c:pt>
                <c:pt idx="45">
                  <c:v>100.6</c:v>
                </c:pt>
                <c:pt idx="46">
                  <c:v>99.8</c:v>
                </c:pt>
                <c:pt idx="47">
                  <c:v>99.9</c:v>
                </c:pt>
                <c:pt idx="48">
                  <c:v>99.5</c:v>
                </c:pt>
                <c:pt idx="49">
                  <c:v>98.4</c:v>
                </c:pt>
                <c:pt idx="50">
                  <c:v>98.2</c:v>
                </c:pt>
                <c:pt idx="51">
                  <c:v>95.9</c:v>
                </c:pt>
                <c:pt idx="52">
                  <c:v>97.8</c:v>
                </c:pt>
                <c:pt idx="53">
                  <c:v>97.9</c:v>
                </c:pt>
                <c:pt idx="54">
                  <c:v>97.3</c:v>
                </c:pt>
                <c:pt idx="55">
                  <c:v>97.8</c:v>
                </c:pt>
                <c:pt idx="56" formatCode="0.0">
                  <c:v>97.7</c:v>
                </c:pt>
                <c:pt idx="57" formatCode="0.0">
                  <c:v>97.99</c:v>
                </c:pt>
                <c:pt idx="58" formatCode="0.0">
                  <c:v>97.37</c:v>
                </c:pt>
                <c:pt idx="59" formatCode="0.0">
                  <c:v>96.9</c:v>
                </c:pt>
                <c:pt idx="60" formatCode="0.0">
                  <c:v>97.49</c:v>
                </c:pt>
                <c:pt idx="61" formatCode="0.0">
                  <c:v>97.15</c:v>
                </c:pt>
                <c:pt idx="62" formatCode="0.0">
                  <c:v>97.2</c:v>
                </c:pt>
                <c:pt idx="63" formatCode="0.0">
                  <c:v>96.2</c:v>
                </c:pt>
                <c:pt idx="64" formatCode="0.0">
                  <c:v>95.9</c:v>
                </c:pt>
                <c:pt idx="65" formatCode="0.0">
                  <c:v>95.7</c:v>
                </c:pt>
                <c:pt idx="66" formatCode="0.0">
                  <c:v>96.1</c:v>
                </c:pt>
                <c:pt idx="67" formatCode="0.0">
                  <c:v>96.7</c:v>
                </c:pt>
                <c:pt idx="68" formatCode="0.0">
                  <c:v>96.1</c:v>
                </c:pt>
                <c:pt idx="69" formatCode="0.0">
                  <c:v>96.7</c:v>
                </c:pt>
                <c:pt idx="70" formatCode="0.0">
                  <c:v>96.7</c:v>
                </c:pt>
                <c:pt idx="71" formatCode="0.0">
                  <c:v>96.7</c:v>
                </c:pt>
                <c:pt idx="72" formatCode="0.0">
                  <c:v>96.7</c:v>
                </c:pt>
                <c:pt idx="73" formatCode="0.0">
                  <c:v>95.59</c:v>
                </c:pt>
                <c:pt idx="74" formatCode="0.0">
                  <c:v>95.79</c:v>
                </c:pt>
                <c:pt idx="75" formatCode="0.0">
                  <c:v>96.6</c:v>
                </c:pt>
                <c:pt idx="76" formatCode="0.0">
                  <c:v>96.99</c:v>
                </c:pt>
                <c:pt idx="77" formatCode="0.0">
                  <c:v>96.74</c:v>
                </c:pt>
                <c:pt idx="78" formatCode="0.0">
                  <c:v>96.19</c:v>
                </c:pt>
                <c:pt idx="79" formatCode="0.0">
                  <c:v>94.99</c:v>
                </c:pt>
                <c:pt idx="80" formatCode="0.0">
                  <c:v>94.75</c:v>
                </c:pt>
                <c:pt idx="81" formatCode="0.0">
                  <c:v>95.65</c:v>
                </c:pt>
                <c:pt idx="82" formatCode="0.0">
                  <c:v>95.85</c:v>
                </c:pt>
                <c:pt idx="83" formatCode="0.0">
                  <c:v>93.4</c:v>
                </c:pt>
                <c:pt idx="84" formatCode="0.0">
                  <c:v>94.3</c:v>
                </c:pt>
                <c:pt idx="85" formatCode="0.0">
                  <c:v>92.6</c:v>
                </c:pt>
                <c:pt idx="86" formatCode="0.0">
                  <c:v>92.49</c:v>
                </c:pt>
                <c:pt idx="87" formatCode="0.0">
                  <c:v>92.79</c:v>
                </c:pt>
                <c:pt idx="88" formatCode="0.0">
                  <c:v>91.47</c:v>
                </c:pt>
                <c:pt idx="89" formatCode="0.0">
                  <c:v>92.34</c:v>
                </c:pt>
                <c:pt idx="90" formatCode="0.0">
                  <c:v>92.17</c:v>
                </c:pt>
                <c:pt idx="91" formatCode="0.0">
                  <c:v>93.62</c:v>
                </c:pt>
                <c:pt idx="92" formatCode="0.0">
                  <c:v>91.49</c:v>
                </c:pt>
                <c:pt idx="93" formatCode="0.0">
                  <c:v>91.39</c:v>
                </c:pt>
                <c:pt idx="94" formatCode="0.0">
                  <c:v>89.99</c:v>
                </c:pt>
                <c:pt idx="95" formatCode="0.0">
                  <c:v>89.2</c:v>
                </c:pt>
                <c:pt idx="96" formatCode="0.0">
                  <c:v>91.6</c:v>
                </c:pt>
                <c:pt idx="97" formatCode="0.0">
                  <c:v>90.99</c:v>
                </c:pt>
                <c:pt idx="98" formatCode="0.0">
                  <c:v>90.54</c:v>
                </c:pt>
                <c:pt idx="99" formatCode="0.0">
                  <c:v>90.34</c:v>
                </c:pt>
                <c:pt idx="100" formatCode="0.0">
                  <c:v>88.24</c:v>
                </c:pt>
                <c:pt idx="101" formatCode="0.0">
                  <c:v>87.49</c:v>
                </c:pt>
                <c:pt idx="102" formatCode="0.0">
                  <c:v>87.79</c:v>
                </c:pt>
                <c:pt idx="103" formatCode="0.0">
                  <c:v>89.79</c:v>
                </c:pt>
                <c:pt idx="104" formatCode="0.0">
                  <c:v>90.64</c:v>
                </c:pt>
                <c:pt idx="105" formatCode="0.0">
                  <c:v>91.99</c:v>
                </c:pt>
                <c:pt idx="106" formatCode="0.0">
                  <c:v>91.49</c:v>
                </c:pt>
                <c:pt idx="107" formatCode="0.0">
                  <c:v>91.49</c:v>
                </c:pt>
                <c:pt idx="108" formatCode="0.0">
                  <c:v>91.99</c:v>
                </c:pt>
                <c:pt idx="109" formatCode="0.0">
                  <c:v>91.49</c:v>
                </c:pt>
                <c:pt idx="110" formatCode="0.0">
                  <c:v>91.3</c:v>
                </c:pt>
                <c:pt idx="111" formatCode="0.0">
                  <c:v>91.49</c:v>
                </c:pt>
                <c:pt idx="112" formatCode="0.0">
                  <c:v>91.1</c:v>
                </c:pt>
                <c:pt idx="113" formatCode="0.0">
                  <c:v>89.2</c:v>
                </c:pt>
                <c:pt idx="114" formatCode="0.0">
                  <c:v>89.44</c:v>
                </c:pt>
                <c:pt idx="115" formatCode="0.0">
                  <c:v>88.87</c:v>
                </c:pt>
                <c:pt idx="116" formatCode="0.0">
                  <c:v>89.79</c:v>
                </c:pt>
                <c:pt idx="117" formatCode="0.0">
                  <c:v>90.49</c:v>
                </c:pt>
                <c:pt idx="118" formatCode="0.0">
                  <c:v>90.99</c:v>
                </c:pt>
                <c:pt idx="119" formatCode="0.0">
                  <c:v>88.59</c:v>
                </c:pt>
                <c:pt idx="120" formatCode="0.0">
                  <c:v>86.7</c:v>
                </c:pt>
                <c:pt idx="121" formatCode="0.0">
                  <c:v>85.8</c:v>
                </c:pt>
                <c:pt idx="122" formatCode="0.0">
                  <c:v>85.7</c:v>
                </c:pt>
                <c:pt idx="123" formatCode="0.0">
                  <c:v>85.05</c:v>
                </c:pt>
                <c:pt idx="124" formatCode="0.0">
                  <c:v>85.49</c:v>
                </c:pt>
                <c:pt idx="125" formatCode="0.0">
                  <c:v>85.05</c:v>
                </c:pt>
                <c:pt idx="126" formatCode="0.0">
                  <c:v>86.15</c:v>
                </c:pt>
                <c:pt idx="127" formatCode="0.0">
                  <c:v>85.74</c:v>
                </c:pt>
                <c:pt idx="128" formatCode="0.0">
                  <c:v>86.39</c:v>
                </c:pt>
                <c:pt idx="129" formatCode="0.0">
                  <c:v>86.09</c:v>
                </c:pt>
                <c:pt idx="130" formatCode="0.0">
                  <c:v>84.99</c:v>
                </c:pt>
                <c:pt idx="131" formatCode="0.0">
                  <c:v>86.2</c:v>
                </c:pt>
                <c:pt idx="132" formatCode="0.0">
                  <c:v>87.84</c:v>
                </c:pt>
                <c:pt idx="133" formatCode="0.0">
                  <c:v>87.84</c:v>
                </c:pt>
                <c:pt idx="134" formatCode="0.0">
                  <c:v>87.69</c:v>
                </c:pt>
                <c:pt idx="135" formatCode="0.0">
                  <c:v>88.39</c:v>
                </c:pt>
                <c:pt idx="136" formatCode="0.0">
                  <c:v>88.49</c:v>
                </c:pt>
                <c:pt idx="137" formatCode="0.0">
                  <c:v>88.39</c:v>
                </c:pt>
                <c:pt idx="138" formatCode="0.0">
                  <c:v>88.34</c:v>
                </c:pt>
                <c:pt idx="139" formatCode="0.0">
                  <c:v>87.87</c:v>
                </c:pt>
                <c:pt idx="140" formatCode="0.0">
                  <c:v>86.99</c:v>
                </c:pt>
                <c:pt idx="141" formatCode="0.0">
                  <c:v>88.34</c:v>
                </c:pt>
                <c:pt idx="142" formatCode="0.0">
                  <c:v>86.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8F7-4DA9-A351-AA49E30FCA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94115376"/>
        <c:axId val="1894103728"/>
      </c:lineChart>
      <c:dateAx>
        <c:axId val="1894115376"/>
        <c:scaling>
          <c:orientation val="minMax"/>
          <c:min val="45544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894103728"/>
        <c:crosses val="autoZero"/>
        <c:auto val="1"/>
        <c:lblOffset val="100"/>
        <c:baseTimeUnit val="days"/>
        <c:majorUnit val="6"/>
        <c:majorTimeUnit val="days"/>
      </c:dateAx>
      <c:valAx>
        <c:axId val="1894103728"/>
        <c:scaling>
          <c:orientation val="minMax"/>
          <c:max val="120"/>
          <c:min val="7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894115376"/>
        <c:crosses val="autoZero"/>
        <c:crossBetween val="between"/>
        <c:majorUnit val="5"/>
        <c:min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latin typeface="Corbel" panose="020B0503020204020204" pitchFamily="34" charset="0"/>
        </a:defRPr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400" b="1" i="0" u="none" strike="noStrike" baseline="0" dirty="0">
                <a:effectLst/>
              </a:rPr>
              <a:t>Динамика </a:t>
            </a:r>
            <a:r>
              <a:rPr lang="en-US" sz="1400" dirty="0"/>
              <a:t>RUB-YUAN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2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543638637216377"/>
          <c:y val="0.13655129839252494"/>
          <c:w val="0.85646193823368377"/>
          <c:h val="0.56598568547652361"/>
        </c:manualLayout>
      </c:layout>
      <c:lineChart>
        <c:grouping val="standard"/>
        <c:varyColors val="0"/>
        <c:ser>
          <c:idx val="0"/>
          <c:order val="0"/>
          <c:spPr>
            <a:ln w="31750" cap="rnd">
              <a:solidFill>
                <a:srgbClr val="D53DD0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dLbls>
            <c:dLbl>
              <c:idx val="93"/>
              <c:layout>
                <c:manualLayout>
                  <c:x val="-3.5086297910397893E-3"/>
                  <c:y val="6.73736401006456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EC6-499B-80CC-260350D947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147B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RUB-YUAN'!$A$11:$A$104</c:f>
              <c:numCache>
                <c:formatCode>m/d/yyyy</c:formatCode>
                <c:ptCount val="94"/>
                <c:pt idx="0">
                  <c:v>45677</c:v>
                </c:pt>
                <c:pt idx="1">
                  <c:v>45674</c:v>
                </c:pt>
                <c:pt idx="2">
                  <c:v>45673</c:v>
                </c:pt>
                <c:pt idx="3">
                  <c:v>45672</c:v>
                </c:pt>
                <c:pt idx="4">
                  <c:v>45671</c:v>
                </c:pt>
                <c:pt idx="5">
                  <c:v>45670</c:v>
                </c:pt>
                <c:pt idx="6">
                  <c:v>45667</c:v>
                </c:pt>
                <c:pt idx="7">
                  <c:v>45666</c:v>
                </c:pt>
                <c:pt idx="8">
                  <c:v>45665</c:v>
                </c:pt>
                <c:pt idx="9">
                  <c:v>45664</c:v>
                </c:pt>
                <c:pt idx="10">
                  <c:v>45663</c:v>
                </c:pt>
                <c:pt idx="11">
                  <c:v>45660</c:v>
                </c:pt>
                <c:pt idx="12">
                  <c:v>45659</c:v>
                </c:pt>
                <c:pt idx="13">
                  <c:v>45658</c:v>
                </c:pt>
                <c:pt idx="14">
                  <c:v>45657</c:v>
                </c:pt>
                <c:pt idx="15">
                  <c:v>45656</c:v>
                </c:pt>
                <c:pt idx="16">
                  <c:v>45653</c:v>
                </c:pt>
                <c:pt idx="17">
                  <c:v>45652</c:v>
                </c:pt>
                <c:pt idx="18">
                  <c:v>45651</c:v>
                </c:pt>
                <c:pt idx="19">
                  <c:v>45650</c:v>
                </c:pt>
                <c:pt idx="20">
                  <c:v>45649</c:v>
                </c:pt>
                <c:pt idx="21">
                  <c:v>45646</c:v>
                </c:pt>
                <c:pt idx="22">
                  <c:v>45645</c:v>
                </c:pt>
                <c:pt idx="23">
                  <c:v>45644</c:v>
                </c:pt>
                <c:pt idx="24">
                  <c:v>45643</c:v>
                </c:pt>
                <c:pt idx="25">
                  <c:v>45642</c:v>
                </c:pt>
                <c:pt idx="26">
                  <c:v>45639</c:v>
                </c:pt>
                <c:pt idx="27">
                  <c:v>45638</c:v>
                </c:pt>
                <c:pt idx="28">
                  <c:v>45637</c:v>
                </c:pt>
                <c:pt idx="29">
                  <c:v>45636</c:v>
                </c:pt>
                <c:pt idx="30">
                  <c:v>45635</c:v>
                </c:pt>
                <c:pt idx="31">
                  <c:v>45632</c:v>
                </c:pt>
                <c:pt idx="32">
                  <c:v>45631</c:v>
                </c:pt>
                <c:pt idx="33">
                  <c:v>45630</c:v>
                </c:pt>
                <c:pt idx="34">
                  <c:v>45629</c:v>
                </c:pt>
                <c:pt idx="35">
                  <c:v>45628</c:v>
                </c:pt>
                <c:pt idx="36">
                  <c:v>45625</c:v>
                </c:pt>
                <c:pt idx="37">
                  <c:v>45624</c:v>
                </c:pt>
                <c:pt idx="38">
                  <c:v>45623</c:v>
                </c:pt>
                <c:pt idx="39">
                  <c:v>45622</c:v>
                </c:pt>
                <c:pt idx="40">
                  <c:v>45621</c:v>
                </c:pt>
                <c:pt idx="41">
                  <c:v>45618</c:v>
                </c:pt>
                <c:pt idx="42">
                  <c:v>45617</c:v>
                </c:pt>
                <c:pt idx="43">
                  <c:v>45616</c:v>
                </c:pt>
                <c:pt idx="44">
                  <c:v>45615</c:v>
                </c:pt>
                <c:pt idx="45">
                  <c:v>45614</c:v>
                </c:pt>
                <c:pt idx="46">
                  <c:v>45611</c:v>
                </c:pt>
                <c:pt idx="47">
                  <c:v>45610</c:v>
                </c:pt>
                <c:pt idx="48">
                  <c:v>45609</c:v>
                </c:pt>
                <c:pt idx="49">
                  <c:v>45608</c:v>
                </c:pt>
                <c:pt idx="50">
                  <c:v>45607</c:v>
                </c:pt>
                <c:pt idx="51">
                  <c:v>45604</c:v>
                </c:pt>
                <c:pt idx="52">
                  <c:v>45603</c:v>
                </c:pt>
                <c:pt idx="53">
                  <c:v>45602</c:v>
                </c:pt>
                <c:pt idx="54">
                  <c:v>45601</c:v>
                </c:pt>
                <c:pt idx="55">
                  <c:v>45600</c:v>
                </c:pt>
                <c:pt idx="56">
                  <c:v>45597</c:v>
                </c:pt>
                <c:pt idx="57">
                  <c:v>45596</c:v>
                </c:pt>
                <c:pt idx="58">
                  <c:v>45595</c:v>
                </c:pt>
                <c:pt idx="59">
                  <c:v>45594</c:v>
                </c:pt>
                <c:pt idx="60">
                  <c:v>45593</c:v>
                </c:pt>
                <c:pt idx="61">
                  <c:v>45590</c:v>
                </c:pt>
                <c:pt idx="62">
                  <c:v>45589</c:v>
                </c:pt>
                <c:pt idx="63">
                  <c:v>45588</c:v>
                </c:pt>
                <c:pt idx="64">
                  <c:v>45587</c:v>
                </c:pt>
                <c:pt idx="65">
                  <c:v>45586</c:v>
                </c:pt>
                <c:pt idx="66">
                  <c:v>45583</c:v>
                </c:pt>
                <c:pt idx="67">
                  <c:v>45582</c:v>
                </c:pt>
                <c:pt idx="68">
                  <c:v>45581</c:v>
                </c:pt>
                <c:pt idx="69">
                  <c:v>45580</c:v>
                </c:pt>
                <c:pt idx="70">
                  <c:v>45579</c:v>
                </c:pt>
                <c:pt idx="71">
                  <c:v>45576</c:v>
                </c:pt>
                <c:pt idx="72">
                  <c:v>45575</c:v>
                </c:pt>
                <c:pt idx="73">
                  <c:v>45574</c:v>
                </c:pt>
                <c:pt idx="74">
                  <c:v>45573</c:v>
                </c:pt>
                <c:pt idx="75">
                  <c:v>45572</c:v>
                </c:pt>
                <c:pt idx="76">
                  <c:v>45569</c:v>
                </c:pt>
                <c:pt idx="77">
                  <c:v>45568</c:v>
                </c:pt>
                <c:pt idx="78">
                  <c:v>45567</c:v>
                </c:pt>
                <c:pt idx="79">
                  <c:v>45566</c:v>
                </c:pt>
                <c:pt idx="80">
                  <c:v>45565</c:v>
                </c:pt>
                <c:pt idx="81">
                  <c:v>45562</c:v>
                </c:pt>
                <c:pt idx="82">
                  <c:v>45561</c:v>
                </c:pt>
                <c:pt idx="83">
                  <c:v>45560</c:v>
                </c:pt>
                <c:pt idx="84">
                  <c:v>45559</c:v>
                </c:pt>
                <c:pt idx="85">
                  <c:v>45558</c:v>
                </c:pt>
                <c:pt idx="86">
                  <c:v>45555</c:v>
                </c:pt>
                <c:pt idx="87">
                  <c:v>45554</c:v>
                </c:pt>
                <c:pt idx="88">
                  <c:v>45553</c:v>
                </c:pt>
                <c:pt idx="89">
                  <c:v>45552</c:v>
                </c:pt>
                <c:pt idx="90">
                  <c:v>45551</c:v>
                </c:pt>
                <c:pt idx="91">
                  <c:v>45548</c:v>
                </c:pt>
                <c:pt idx="92">
                  <c:v>45547</c:v>
                </c:pt>
                <c:pt idx="93">
                  <c:v>45546</c:v>
                </c:pt>
              </c:numCache>
            </c:numRef>
          </c:cat>
          <c:val>
            <c:numRef>
              <c:f>'RUB-YUAN'!$B$11:$B$112</c:f>
              <c:numCache>
                <c:formatCode>General</c:formatCode>
                <c:ptCount val="102"/>
                <c:pt idx="0">
                  <c:v>13.8</c:v>
                </c:pt>
                <c:pt idx="1">
                  <c:v>13.8</c:v>
                </c:pt>
                <c:pt idx="2">
                  <c:v>13.8</c:v>
                </c:pt>
                <c:pt idx="3">
                  <c:v>13.8</c:v>
                </c:pt>
                <c:pt idx="4">
                  <c:v>13.9</c:v>
                </c:pt>
                <c:pt idx="5">
                  <c:v>13.7</c:v>
                </c:pt>
                <c:pt idx="6">
                  <c:v>13.8</c:v>
                </c:pt>
                <c:pt idx="7">
                  <c:v>14.5</c:v>
                </c:pt>
                <c:pt idx="8">
                  <c:v>15.5</c:v>
                </c:pt>
                <c:pt idx="9">
                  <c:v>15.4</c:v>
                </c:pt>
                <c:pt idx="10">
                  <c:v>15.4</c:v>
                </c:pt>
                <c:pt idx="11">
                  <c:v>14.5</c:v>
                </c:pt>
                <c:pt idx="12">
                  <c:v>13.9</c:v>
                </c:pt>
                <c:pt idx="13">
                  <c:v>13.9</c:v>
                </c:pt>
                <c:pt idx="14">
                  <c:v>13.9</c:v>
                </c:pt>
                <c:pt idx="15">
                  <c:v>13.9</c:v>
                </c:pt>
                <c:pt idx="16">
                  <c:v>13.9</c:v>
                </c:pt>
                <c:pt idx="17">
                  <c:v>13.9</c:v>
                </c:pt>
                <c:pt idx="18">
                  <c:v>13.9</c:v>
                </c:pt>
                <c:pt idx="19">
                  <c:v>13.9</c:v>
                </c:pt>
                <c:pt idx="20">
                  <c:v>13.9</c:v>
                </c:pt>
                <c:pt idx="21">
                  <c:v>14.2</c:v>
                </c:pt>
                <c:pt idx="22">
                  <c:v>14.2</c:v>
                </c:pt>
                <c:pt idx="23">
                  <c:v>14.2</c:v>
                </c:pt>
                <c:pt idx="24">
                  <c:v>14.1</c:v>
                </c:pt>
                <c:pt idx="25">
                  <c:v>14.3</c:v>
                </c:pt>
                <c:pt idx="26">
                  <c:v>14.3</c:v>
                </c:pt>
                <c:pt idx="27">
                  <c:v>14.2</c:v>
                </c:pt>
                <c:pt idx="28">
                  <c:v>14.1</c:v>
                </c:pt>
                <c:pt idx="29">
                  <c:v>13.7</c:v>
                </c:pt>
                <c:pt idx="30">
                  <c:v>13.7</c:v>
                </c:pt>
                <c:pt idx="31">
                  <c:v>14.3</c:v>
                </c:pt>
                <c:pt idx="32">
                  <c:v>14.3</c:v>
                </c:pt>
                <c:pt idx="33">
                  <c:v>14.3</c:v>
                </c:pt>
                <c:pt idx="34">
                  <c:v>14.4</c:v>
                </c:pt>
                <c:pt idx="35">
                  <c:v>14.5</c:v>
                </c:pt>
                <c:pt idx="36">
                  <c:v>13.4</c:v>
                </c:pt>
                <c:pt idx="37">
                  <c:v>13.4</c:v>
                </c:pt>
                <c:pt idx="38">
                  <c:v>13.4</c:v>
                </c:pt>
                <c:pt idx="39">
                  <c:v>13.4</c:v>
                </c:pt>
                <c:pt idx="40">
                  <c:v>13.4</c:v>
                </c:pt>
                <c:pt idx="41">
                  <c:v>13.4</c:v>
                </c:pt>
                <c:pt idx="42">
                  <c:v>13.4</c:v>
                </c:pt>
                <c:pt idx="43">
                  <c:v>13.4</c:v>
                </c:pt>
                <c:pt idx="44">
                  <c:v>13.4</c:v>
                </c:pt>
                <c:pt idx="45">
                  <c:v>13.4</c:v>
                </c:pt>
                <c:pt idx="46">
                  <c:v>13.4</c:v>
                </c:pt>
                <c:pt idx="47">
                  <c:v>13.4</c:v>
                </c:pt>
                <c:pt idx="48">
                  <c:v>13.4</c:v>
                </c:pt>
                <c:pt idx="49">
                  <c:v>13.4</c:v>
                </c:pt>
                <c:pt idx="50">
                  <c:v>13.4</c:v>
                </c:pt>
                <c:pt idx="51" formatCode="#\ ##0.0;\-#\ ##0.0;#\ ##0.0;&quot;--&quot;">
                  <c:v>13.4</c:v>
                </c:pt>
                <c:pt idx="52" formatCode="#\ ##0.0;\-#\ ##0.0;#\ ##0.0;&quot;--&quot;">
                  <c:v>13.7</c:v>
                </c:pt>
                <c:pt idx="53" formatCode="#\ ##0.0;\-#\ ##0.0;#\ ##0.0;&quot;--&quot;">
                  <c:v>13.7</c:v>
                </c:pt>
                <c:pt idx="54" formatCode="#\ ##0.0;\-#\ ##0.0;#\ ##0.0;&quot;--&quot;">
                  <c:v>13.7</c:v>
                </c:pt>
                <c:pt idx="55" formatCode="#\ ##0.0;\-#\ ##0.0;#\ ##0.0;&quot;--&quot;">
                  <c:v>13.69</c:v>
                </c:pt>
                <c:pt idx="56" formatCode="#\ ##0.0;\-#\ ##0.0;#\ ##0.0;&quot;--&quot;">
                  <c:v>13.55</c:v>
                </c:pt>
                <c:pt idx="57" formatCode="#\ ##0.0;\-#\ ##0.0;#\ ##0.0;&quot;--&quot;">
                  <c:v>13.52</c:v>
                </c:pt>
                <c:pt idx="58" formatCode="#\ ##0.0;\-#\ ##0.0;#\ ##0.0;&quot;--&quot;">
                  <c:v>13.53</c:v>
                </c:pt>
                <c:pt idx="59" formatCode="#\ ##0.0;\-#\ ##0.0;#\ ##0.0;&quot;--&quot;">
                  <c:v>13.5</c:v>
                </c:pt>
                <c:pt idx="60" formatCode="#\ ##0.0;\-#\ ##0.0;#\ ##0.0;&quot;--&quot;">
                  <c:v>13.47</c:v>
                </c:pt>
                <c:pt idx="61" formatCode="#\ ##0.0;\-#\ ##0.0;#\ ##0.0;&quot;--&quot;">
                  <c:v>13.39</c:v>
                </c:pt>
                <c:pt idx="62" formatCode="#\ ##0.0;\-#\ ##0.0;#\ ##0.0;&quot;--&quot;">
                  <c:v>13.4</c:v>
                </c:pt>
                <c:pt idx="63" formatCode="#\ ##0.0;\-#\ ##0.0;#\ ##0.0;&quot;--&quot;">
                  <c:v>13.4</c:v>
                </c:pt>
                <c:pt idx="64" formatCode="#\ ##0.0;\-#\ ##0.0;#\ ##0.0;&quot;--&quot;">
                  <c:v>13.5</c:v>
                </c:pt>
                <c:pt idx="65" formatCode="#\ ##0.0;\-#\ ##0.0;#\ ##0.0;&quot;--&quot;">
                  <c:v>13.47</c:v>
                </c:pt>
                <c:pt idx="66" formatCode="#\ ##0.0;\-#\ ##0.0;#\ ##0.0;&quot;--&quot;">
                  <c:v>13.37</c:v>
                </c:pt>
                <c:pt idx="67" formatCode="#\ ##0.0;\-#\ ##0.0;#\ ##0.0;&quot;--&quot;">
                  <c:v>13.33</c:v>
                </c:pt>
                <c:pt idx="68" formatCode="#\ ##0.0;\-#\ ##0.0;#\ ##0.0;&quot;--&quot;">
                  <c:v>13.34</c:v>
                </c:pt>
                <c:pt idx="69" formatCode="#\ ##0.0;\-#\ ##0.0;#\ ##0.0;&quot;--&quot;">
                  <c:v>13.34</c:v>
                </c:pt>
                <c:pt idx="70" formatCode="#\ ##0.0;\-#\ ##0.0;#\ ##0.0;&quot;--&quot;">
                  <c:v>13.45</c:v>
                </c:pt>
                <c:pt idx="71" formatCode="#\ ##0.0;\-#\ ##0.0;#\ ##0.0;&quot;--&quot;">
                  <c:v>13.55</c:v>
                </c:pt>
                <c:pt idx="72" formatCode="#\ ##0.0;\-#\ ##0.0;#\ ##0.0;&quot;--&quot;">
                  <c:v>13.61</c:v>
                </c:pt>
                <c:pt idx="73" formatCode="#\ ##0.0;\-#\ ##0.0;#\ ##0.0;&quot;--&quot;">
                  <c:v>13.47</c:v>
                </c:pt>
                <c:pt idx="74" formatCode="#\ ##0.0;\-#\ ##0.0;#\ ##0.0;&quot;--&quot;">
                  <c:v>13.49</c:v>
                </c:pt>
                <c:pt idx="75" formatCode="#\ ##0.0;\-#\ ##0.0;#\ ##0.0;&quot;--&quot;">
                  <c:v>13.14</c:v>
                </c:pt>
                <c:pt idx="76" formatCode="#\ ##0.0;\-#\ ##0.0;#\ ##0.0;&quot;--&quot;">
                  <c:v>13.14</c:v>
                </c:pt>
                <c:pt idx="77" formatCode="#\ ##0.0;\-#\ ##0.0;#\ ##0.0;&quot;--&quot;">
                  <c:v>13.14</c:v>
                </c:pt>
                <c:pt idx="78" formatCode="#\ ##0.0;\-#\ ##0.0;#\ ##0.0;&quot;--&quot;">
                  <c:v>13.14</c:v>
                </c:pt>
                <c:pt idx="79" formatCode="#\ ##0.0;\-#\ ##0.0;#\ ##0.0;&quot;--&quot;">
                  <c:v>13.14</c:v>
                </c:pt>
                <c:pt idx="80" formatCode="#\ ##0.0;\-#\ ##0.0;#\ ##0.0;&quot;--&quot;">
                  <c:v>13.3</c:v>
                </c:pt>
                <c:pt idx="81" formatCode="#\ ##0.0;\-#\ ##0.0;#\ ##0.0;&quot;--&quot;">
                  <c:v>13.08</c:v>
                </c:pt>
                <c:pt idx="82" formatCode="#\ ##0.0;\-#\ ##0.0;#\ ##0.0;&quot;--&quot;">
                  <c:v>13.07</c:v>
                </c:pt>
                <c:pt idx="83" formatCode="#\ ##0.0;\-#\ ##0.0;#\ ##0.0;&quot;--&quot;">
                  <c:v>13.07</c:v>
                </c:pt>
                <c:pt idx="84" formatCode="#\ ##0.0;\-#\ ##0.0;#\ ##0.0;&quot;--&quot;">
                  <c:v>13.07</c:v>
                </c:pt>
                <c:pt idx="85" formatCode="#\ ##0.0;\-#\ ##0.0;#\ ##0.0;&quot;--&quot;">
                  <c:v>12.84</c:v>
                </c:pt>
                <c:pt idx="86" formatCode="#\ ##0.0;\-#\ ##0.0;#\ ##0.0;&quot;--&quot;">
                  <c:v>13</c:v>
                </c:pt>
                <c:pt idx="87" formatCode="#\ ##0.0;\-#\ ##0.0;#\ ##0.0;&quot;--&quot;">
                  <c:v>13.01</c:v>
                </c:pt>
                <c:pt idx="88" formatCode="#\ ##0.0;\-#\ ##0.0;#\ ##0.0;&quot;--&quot;">
                  <c:v>12.78</c:v>
                </c:pt>
                <c:pt idx="89" formatCode="#\ ##0.0;\-#\ ##0.0;#\ ##0.0;&quot;--&quot;">
                  <c:v>12.7</c:v>
                </c:pt>
                <c:pt idx="90" formatCode="#\ ##0.0;\-#\ ##0.0;#\ ##0.0;&quot;--&quot;">
                  <c:v>12.7</c:v>
                </c:pt>
                <c:pt idx="91" formatCode="#\ ##0.0;\-#\ ##0.0;#\ ##0.0;&quot;--&quot;">
                  <c:v>12.71</c:v>
                </c:pt>
                <c:pt idx="92" formatCode="#\ ##0.0;\-#\ ##0.0;#\ ##0.0;&quot;--&quot;">
                  <c:v>12.67</c:v>
                </c:pt>
                <c:pt idx="93" formatCode="#\ ##0.0;\-#\ ##0.0;#\ ##0.0;&quot;--&quot;">
                  <c:v>12.7</c:v>
                </c:pt>
                <c:pt idx="94" formatCode="#\ ##0.0;\-#\ ##0.0;#\ ##0.0;&quot;--&quot;">
                  <c:v>12.59</c:v>
                </c:pt>
                <c:pt idx="95" formatCode="#\ ##0.0;\-#\ ##0.0;#\ ##0.0;&quot;--&quot;">
                  <c:v>12.58</c:v>
                </c:pt>
                <c:pt idx="96" formatCode="#\ ##0.0;\-#\ ##0.0;#\ ##0.0;&quot;--&quot;">
                  <c:v>12.22</c:v>
                </c:pt>
                <c:pt idx="97" formatCode="#\ ##0.0;\-#\ ##0.0;#\ ##0.0;&quot;--&quot;">
                  <c:v>12.21</c:v>
                </c:pt>
                <c:pt idx="98" formatCode="#\ ##0.0;\-#\ ##0.0;#\ ##0.0;&quot;--&quot;">
                  <c:v>12.18</c:v>
                </c:pt>
                <c:pt idx="99" formatCode="#\ ##0.0;\-#\ ##0.0;#\ ##0.0;&quot;--&quot;">
                  <c:v>12.51</c:v>
                </c:pt>
                <c:pt idx="100" formatCode="#\ ##0.0;\-#\ ##0.0;#\ ##0.0;&quot;--&quot;">
                  <c:v>12.61</c:v>
                </c:pt>
                <c:pt idx="101" formatCode="#\ ##0.0;\-#\ ##0.0;#\ ##0.0;&quot;--&quot;">
                  <c:v>12.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C6-499B-80CC-260350D947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94115376"/>
        <c:axId val="1894103728"/>
      </c:lineChart>
      <c:dateAx>
        <c:axId val="18941153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894103728"/>
        <c:crosses val="autoZero"/>
        <c:auto val="1"/>
        <c:lblOffset val="100"/>
        <c:baseTimeUnit val="days"/>
        <c:majorUnit val="8"/>
        <c:majorTimeUnit val="days"/>
      </c:dateAx>
      <c:valAx>
        <c:axId val="1894103728"/>
        <c:scaling>
          <c:orientation val="minMax"/>
          <c:min val="11"/>
        </c:scaling>
        <c:delete val="0"/>
        <c:axPos val="l"/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894115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latin typeface="Corbel" panose="020B0503020204020204" pitchFamily="34" charset="0"/>
        </a:defRPr>
      </a:pPr>
      <a:endParaRPr lang="ru-R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Динамика 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EUR-USD</a:t>
            </a:r>
          </a:p>
        </c:rich>
      </c:tx>
      <c:layout>
        <c:manualLayout>
          <c:xMode val="edge"/>
          <c:yMode val="edge"/>
          <c:x val="0.29651580195858218"/>
          <c:y val="2.57200748385143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accent5">
                  <a:lumMod val="50000"/>
                </a:schemeClr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76440312379827"/>
          <c:y val="0.12375977891727351"/>
          <c:w val="0.86514892024834744"/>
          <c:h val="0.56045982979176268"/>
        </c:manualLayout>
      </c:layout>
      <c:lineChart>
        <c:grouping val="standard"/>
        <c:varyColors val="0"/>
        <c:ser>
          <c:idx val="0"/>
          <c:order val="0"/>
          <c:spPr>
            <a:ln w="317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145"/>
              <c:layout>
                <c:manualLayout>
                  <c:x val="0"/>
                  <c:y val="-0.10365169631573837"/>
                </c:manualLayout>
              </c:layout>
              <c:tx>
                <c:rich>
                  <a:bodyPr/>
                  <a:lstStyle/>
                  <a:p>
                    <a:fld id="{A2D5D1B5-62D3-4136-8652-F9E4A54DAF8C}" type="VALUE">
                      <a:rPr lang="en-US" b="1">
                        <a:solidFill>
                          <a:schemeClr val="accent5">
                            <a:lumMod val="50000"/>
                          </a:schemeClr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828-49E5-9EFD-B6CEFCFA79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EUR-USD'!$A$12:$A$157</c:f>
              <c:numCache>
                <c:formatCode>m/d/yyyy</c:formatCode>
                <c:ptCount val="146"/>
                <c:pt idx="0">
                  <c:v>45677</c:v>
                </c:pt>
                <c:pt idx="1">
                  <c:v>45674</c:v>
                </c:pt>
                <c:pt idx="2">
                  <c:v>45673</c:v>
                </c:pt>
                <c:pt idx="3">
                  <c:v>45672</c:v>
                </c:pt>
                <c:pt idx="4">
                  <c:v>45671</c:v>
                </c:pt>
                <c:pt idx="5">
                  <c:v>45670</c:v>
                </c:pt>
                <c:pt idx="6">
                  <c:v>45667</c:v>
                </c:pt>
                <c:pt idx="7">
                  <c:v>45666</c:v>
                </c:pt>
                <c:pt idx="8">
                  <c:v>45665</c:v>
                </c:pt>
                <c:pt idx="9">
                  <c:v>45664</c:v>
                </c:pt>
                <c:pt idx="10">
                  <c:v>45663</c:v>
                </c:pt>
                <c:pt idx="11">
                  <c:v>45660</c:v>
                </c:pt>
                <c:pt idx="12">
                  <c:v>45659</c:v>
                </c:pt>
                <c:pt idx="13">
                  <c:v>45658</c:v>
                </c:pt>
                <c:pt idx="14">
                  <c:v>45657</c:v>
                </c:pt>
                <c:pt idx="15">
                  <c:v>45656</c:v>
                </c:pt>
                <c:pt idx="16">
                  <c:v>45653</c:v>
                </c:pt>
                <c:pt idx="17">
                  <c:v>45652</c:v>
                </c:pt>
                <c:pt idx="18">
                  <c:v>45651</c:v>
                </c:pt>
                <c:pt idx="19">
                  <c:v>45650</c:v>
                </c:pt>
                <c:pt idx="20">
                  <c:v>45649</c:v>
                </c:pt>
                <c:pt idx="21">
                  <c:v>45646</c:v>
                </c:pt>
                <c:pt idx="22">
                  <c:v>45645</c:v>
                </c:pt>
                <c:pt idx="23">
                  <c:v>45644</c:v>
                </c:pt>
                <c:pt idx="24">
                  <c:v>45643</c:v>
                </c:pt>
                <c:pt idx="25">
                  <c:v>45642</c:v>
                </c:pt>
                <c:pt idx="26">
                  <c:v>45639</c:v>
                </c:pt>
                <c:pt idx="27">
                  <c:v>45638</c:v>
                </c:pt>
                <c:pt idx="28">
                  <c:v>45637</c:v>
                </c:pt>
                <c:pt idx="29">
                  <c:v>45636</c:v>
                </c:pt>
                <c:pt idx="30">
                  <c:v>45635</c:v>
                </c:pt>
                <c:pt idx="31">
                  <c:v>45632</c:v>
                </c:pt>
                <c:pt idx="32">
                  <c:v>45631</c:v>
                </c:pt>
                <c:pt idx="33">
                  <c:v>45630</c:v>
                </c:pt>
                <c:pt idx="34">
                  <c:v>45629</c:v>
                </c:pt>
                <c:pt idx="35">
                  <c:v>45628</c:v>
                </c:pt>
                <c:pt idx="36">
                  <c:v>45625</c:v>
                </c:pt>
                <c:pt idx="37">
                  <c:v>45624</c:v>
                </c:pt>
                <c:pt idx="38">
                  <c:v>45623</c:v>
                </c:pt>
                <c:pt idx="39">
                  <c:v>45622</c:v>
                </c:pt>
                <c:pt idx="40">
                  <c:v>45621</c:v>
                </c:pt>
                <c:pt idx="41">
                  <c:v>45618</c:v>
                </c:pt>
                <c:pt idx="42">
                  <c:v>45617</c:v>
                </c:pt>
                <c:pt idx="43">
                  <c:v>45616</c:v>
                </c:pt>
                <c:pt idx="44">
                  <c:v>45615</c:v>
                </c:pt>
                <c:pt idx="45">
                  <c:v>45614</c:v>
                </c:pt>
                <c:pt idx="46">
                  <c:v>45611</c:v>
                </c:pt>
                <c:pt idx="47">
                  <c:v>45610</c:v>
                </c:pt>
                <c:pt idx="48">
                  <c:v>45609</c:v>
                </c:pt>
                <c:pt idx="49">
                  <c:v>45608</c:v>
                </c:pt>
                <c:pt idx="50">
                  <c:v>45607</c:v>
                </c:pt>
                <c:pt idx="51">
                  <c:v>45604</c:v>
                </c:pt>
                <c:pt idx="52">
                  <c:v>45603</c:v>
                </c:pt>
                <c:pt idx="53">
                  <c:v>45602</c:v>
                </c:pt>
                <c:pt idx="54">
                  <c:v>45601</c:v>
                </c:pt>
                <c:pt idx="55">
                  <c:v>45600</c:v>
                </c:pt>
                <c:pt idx="56">
                  <c:v>45597</c:v>
                </c:pt>
                <c:pt idx="57">
                  <c:v>45596</c:v>
                </c:pt>
                <c:pt idx="58">
                  <c:v>45595</c:v>
                </c:pt>
                <c:pt idx="59">
                  <c:v>45594</c:v>
                </c:pt>
                <c:pt idx="60">
                  <c:v>45593</c:v>
                </c:pt>
                <c:pt idx="61">
                  <c:v>45590</c:v>
                </c:pt>
                <c:pt idx="62">
                  <c:v>45589</c:v>
                </c:pt>
                <c:pt idx="63">
                  <c:v>45588</c:v>
                </c:pt>
                <c:pt idx="64">
                  <c:v>45587</c:v>
                </c:pt>
                <c:pt idx="65">
                  <c:v>45586</c:v>
                </c:pt>
                <c:pt idx="66">
                  <c:v>45583</c:v>
                </c:pt>
                <c:pt idx="67">
                  <c:v>45582</c:v>
                </c:pt>
                <c:pt idx="68">
                  <c:v>45581</c:v>
                </c:pt>
                <c:pt idx="69">
                  <c:v>45580</c:v>
                </c:pt>
                <c:pt idx="70">
                  <c:v>45579</c:v>
                </c:pt>
                <c:pt idx="71">
                  <c:v>45576</c:v>
                </c:pt>
                <c:pt idx="72">
                  <c:v>45575</c:v>
                </c:pt>
                <c:pt idx="73">
                  <c:v>45574</c:v>
                </c:pt>
                <c:pt idx="74">
                  <c:v>45573</c:v>
                </c:pt>
                <c:pt idx="75">
                  <c:v>45572</c:v>
                </c:pt>
                <c:pt idx="76">
                  <c:v>45569</c:v>
                </c:pt>
                <c:pt idx="77">
                  <c:v>45568</c:v>
                </c:pt>
                <c:pt idx="78">
                  <c:v>45567</c:v>
                </c:pt>
                <c:pt idx="79">
                  <c:v>45566</c:v>
                </c:pt>
                <c:pt idx="80">
                  <c:v>45565</c:v>
                </c:pt>
                <c:pt idx="81">
                  <c:v>45562</c:v>
                </c:pt>
                <c:pt idx="82">
                  <c:v>45561</c:v>
                </c:pt>
                <c:pt idx="83">
                  <c:v>45560</c:v>
                </c:pt>
                <c:pt idx="84">
                  <c:v>45559</c:v>
                </c:pt>
                <c:pt idx="85">
                  <c:v>45558</c:v>
                </c:pt>
                <c:pt idx="86">
                  <c:v>45555</c:v>
                </c:pt>
                <c:pt idx="87">
                  <c:v>45554</c:v>
                </c:pt>
                <c:pt idx="88">
                  <c:v>45553</c:v>
                </c:pt>
                <c:pt idx="89">
                  <c:v>45552</c:v>
                </c:pt>
                <c:pt idx="90">
                  <c:v>45551</c:v>
                </c:pt>
                <c:pt idx="91">
                  <c:v>45548</c:v>
                </c:pt>
                <c:pt idx="92">
                  <c:v>45547</c:v>
                </c:pt>
                <c:pt idx="93">
                  <c:v>45546</c:v>
                </c:pt>
                <c:pt idx="94">
                  <c:v>45545</c:v>
                </c:pt>
                <c:pt idx="95">
                  <c:v>45544</c:v>
                </c:pt>
                <c:pt idx="96">
                  <c:v>45541</c:v>
                </c:pt>
                <c:pt idx="97">
                  <c:v>45540</c:v>
                </c:pt>
                <c:pt idx="98">
                  <c:v>45539</c:v>
                </c:pt>
                <c:pt idx="99">
                  <c:v>45538</c:v>
                </c:pt>
                <c:pt idx="100">
                  <c:v>45537</c:v>
                </c:pt>
                <c:pt idx="101">
                  <c:v>45534</c:v>
                </c:pt>
                <c:pt idx="102">
                  <c:v>45533</c:v>
                </c:pt>
                <c:pt idx="103">
                  <c:v>45532</c:v>
                </c:pt>
                <c:pt idx="104">
                  <c:v>45531</c:v>
                </c:pt>
                <c:pt idx="105">
                  <c:v>45530</c:v>
                </c:pt>
                <c:pt idx="106">
                  <c:v>45527</c:v>
                </c:pt>
                <c:pt idx="107">
                  <c:v>45526</c:v>
                </c:pt>
                <c:pt idx="108">
                  <c:v>45525</c:v>
                </c:pt>
                <c:pt idx="109">
                  <c:v>45524</c:v>
                </c:pt>
                <c:pt idx="110">
                  <c:v>45523</c:v>
                </c:pt>
                <c:pt idx="111">
                  <c:v>45520</c:v>
                </c:pt>
                <c:pt idx="112">
                  <c:v>45519</c:v>
                </c:pt>
                <c:pt idx="113">
                  <c:v>45518</c:v>
                </c:pt>
                <c:pt idx="114">
                  <c:v>45517</c:v>
                </c:pt>
                <c:pt idx="115">
                  <c:v>45516</c:v>
                </c:pt>
                <c:pt idx="116">
                  <c:v>45513</c:v>
                </c:pt>
                <c:pt idx="117">
                  <c:v>45512</c:v>
                </c:pt>
                <c:pt idx="118">
                  <c:v>45511</c:v>
                </c:pt>
                <c:pt idx="119">
                  <c:v>45510</c:v>
                </c:pt>
                <c:pt idx="120">
                  <c:v>45509</c:v>
                </c:pt>
                <c:pt idx="121">
                  <c:v>45506</c:v>
                </c:pt>
                <c:pt idx="122">
                  <c:v>45505</c:v>
                </c:pt>
                <c:pt idx="123">
                  <c:v>45504</c:v>
                </c:pt>
                <c:pt idx="124">
                  <c:v>45503</c:v>
                </c:pt>
                <c:pt idx="125">
                  <c:v>45502</c:v>
                </c:pt>
                <c:pt idx="126">
                  <c:v>45499</c:v>
                </c:pt>
                <c:pt idx="127">
                  <c:v>45498</c:v>
                </c:pt>
                <c:pt idx="128">
                  <c:v>45497</c:v>
                </c:pt>
                <c:pt idx="129">
                  <c:v>45496</c:v>
                </c:pt>
                <c:pt idx="130">
                  <c:v>45495</c:v>
                </c:pt>
                <c:pt idx="131">
                  <c:v>45492</c:v>
                </c:pt>
                <c:pt idx="132">
                  <c:v>45491</c:v>
                </c:pt>
                <c:pt idx="133">
                  <c:v>45490</c:v>
                </c:pt>
                <c:pt idx="134">
                  <c:v>45489</c:v>
                </c:pt>
                <c:pt idx="135">
                  <c:v>45488</c:v>
                </c:pt>
                <c:pt idx="136">
                  <c:v>45485</c:v>
                </c:pt>
                <c:pt idx="137">
                  <c:v>45484</c:v>
                </c:pt>
                <c:pt idx="138">
                  <c:v>45483</c:v>
                </c:pt>
                <c:pt idx="139">
                  <c:v>45482</c:v>
                </c:pt>
                <c:pt idx="140">
                  <c:v>45481</c:v>
                </c:pt>
                <c:pt idx="141">
                  <c:v>45478</c:v>
                </c:pt>
                <c:pt idx="142">
                  <c:v>45477</c:v>
                </c:pt>
                <c:pt idx="143">
                  <c:v>45476</c:v>
                </c:pt>
                <c:pt idx="144">
                  <c:v>45475</c:v>
                </c:pt>
                <c:pt idx="145">
                  <c:v>45474</c:v>
                </c:pt>
              </c:numCache>
            </c:numRef>
          </c:cat>
          <c:val>
            <c:numRef>
              <c:f>'EUR-USD'!$B$12:$B$157</c:f>
              <c:numCache>
                <c:formatCode>General</c:formatCode>
                <c:ptCount val="146"/>
                <c:pt idx="0">
                  <c:v>1.0302</c:v>
                </c:pt>
                <c:pt idx="1">
                  <c:v>1.03</c:v>
                </c:pt>
                <c:pt idx="2">
                  <c:v>1.0298</c:v>
                </c:pt>
                <c:pt idx="3">
                  <c:v>1.0288999999999999</c:v>
                </c:pt>
                <c:pt idx="4">
                  <c:v>1.0306999999999999</c:v>
                </c:pt>
                <c:pt idx="5">
                  <c:v>1.0214000000000001</c:v>
                </c:pt>
                <c:pt idx="6">
                  <c:v>1.0244</c:v>
                </c:pt>
                <c:pt idx="7">
                  <c:v>1.0298</c:v>
                </c:pt>
                <c:pt idx="8">
                  <c:v>1.0313000000000001</c:v>
                </c:pt>
                <c:pt idx="9">
                  <c:v>1.0339</c:v>
                </c:pt>
                <c:pt idx="10">
                  <c:v>1.0389999999999999</c:v>
                </c:pt>
                <c:pt idx="11">
                  <c:v>1.0273000000000001</c:v>
                </c:pt>
                <c:pt idx="12">
                  <c:v>1.0265</c:v>
                </c:pt>
                <c:pt idx="13">
                  <c:v>1.0355000000000001</c:v>
                </c:pt>
                <c:pt idx="14">
                  <c:v>1.0353000000000001</c:v>
                </c:pt>
                <c:pt idx="15">
                  <c:v>1.0407</c:v>
                </c:pt>
                <c:pt idx="16">
                  <c:v>1.0427</c:v>
                </c:pt>
                <c:pt idx="17">
                  <c:v>1.0422</c:v>
                </c:pt>
                <c:pt idx="18">
                  <c:v>1.0404</c:v>
                </c:pt>
                <c:pt idx="19">
                  <c:v>1.0391999999999999</c:v>
                </c:pt>
                <c:pt idx="20">
                  <c:v>1.0444</c:v>
                </c:pt>
                <c:pt idx="21">
                  <c:v>1.0428999999999999</c:v>
                </c:pt>
                <c:pt idx="22">
                  <c:v>1.0362</c:v>
                </c:pt>
                <c:pt idx="23">
                  <c:v>1.0351999999999999</c:v>
                </c:pt>
                <c:pt idx="24">
                  <c:v>1.0488999999999999</c:v>
                </c:pt>
                <c:pt idx="25">
                  <c:v>1.0513999999999999</c:v>
                </c:pt>
                <c:pt idx="26">
                  <c:v>1.0502</c:v>
                </c:pt>
                <c:pt idx="27">
                  <c:v>1.0467</c:v>
                </c:pt>
                <c:pt idx="28">
                  <c:v>1.0494000000000001</c:v>
                </c:pt>
                <c:pt idx="29">
                  <c:v>1.0531999999999999</c:v>
                </c:pt>
                <c:pt idx="30">
                  <c:v>1.0568</c:v>
                </c:pt>
                <c:pt idx="31">
                  <c:v>1.0568</c:v>
                </c:pt>
                <c:pt idx="32">
                  <c:v>1.0586</c:v>
                </c:pt>
                <c:pt idx="33">
                  <c:v>1.0509999999999999</c:v>
                </c:pt>
                <c:pt idx="34">
                  <c:v>1.0508999999999999</c:v>
                </c:pt>
                <c:pt idx="35">
                  <c:v>1.0525</c:v>
                </c:pt>
                <c:pt idx="36">
                  <c:v>1.0569</c:v>
                </c:pt>
                <c:pt idx="37">
                  <c:v>1.0552999999999999</c:v>
                </c:pt>
                <c:pt idx="38">
                  <c:v>1.0564</c:v>
                </c:pt>
                <c:pt idx="39">
                  <c:v>1.0486</c:v>
                </c:pt>
                <c:pt idx="40">
                  <c:v>1.0479000000000001</c:v>
                </c:pt>
                <c:pt idx="41">
                  <c:v>1.0411999999999999</c:v>
                </c:pt>
                <c:pt idx="42">
                  <c:v>1.0472999999999999</c:v>
                </c:pt>
                <c:pt idx="43">
                  <c:v>1.0543</c:v>
                </c:pt>
                <c:pt idx="44">
                  <c:v>1.0595000000000001</c:v>
                </c:pt>
                <c:pt idx="45">
                  <c:v>1.0537000000000001</c:v>
                </c:pt>
                <c:pt idx="46">
                  <c:v>1.0541</c:v>
                </c:pt>
                <c:pt idx="47">
                  <c:v>1.0529999999999999</c:v>
                </c:pt>
                <c:pt idx="48">
                  <c:v>1.0563</c:v>
                </c:pt>
                <c:pt idx="49">
                  <c:v>1.0623</c:v>
                </c:pt>
                <c:pt idx="50">
                  <c:v>1.0653999999999999</c:v>
                </c:pt>
                <c:pt idx="51">
                  <c:v>1.0784</c:v>
                </c:pt>
                <c:pt idx="52">
                  <c:v>1.0804</c:v>
                </c:pt>
                <c:pt idx="53">
                  <c:v>1.0728</c:v>
                </c:pt>
                <c:pt idx="54">
                  <c:v>1.093</c:v>
                </c:pt>
                <c:pt idx="55">
                  <c:v>1.0895999999999999</c:v>
                </c:pt>
                <c:pt idx="56">
                  <c:v>1.0833999999999999</c:v>
                </c:pt>
                <c:pt idx="57">
                  <c:v>1.0880000000000001</c:v>
                </c:pt>
                <c:pt idx="58">
                  <c:v>1.0854999999999999</c:v>
                </c:pt>
                <c:pt idx="59">
                  <c:v>1.0818000000000001</c:v>
                </c:pt>
                <c:pt idx="60">
                  <c:v>1.0811999999999999</c:v>
                </c:pt>
                <c:pt idx="61">
                  <c:v>1.0792999999999999</c:v>
                </c:pt>
                <c:pt idx="62">
                  <c:v>1.0827</c:v>
                </c:pt>
                <c:pt idx="63">
                  <c:v>1.0781000000000001</c:v>
                </c:pt>
                <c:pt idx="64">
                  <c:v>1.0797000000000001</c:v>
                </c:pt>
                <c:pt idx="65">
                  <c:v>1.0814999999999999</c:v>
                </c:pt>
                <c:pt idx="66">
                  <c:v>1.0866</c:v>
                </c:pt>
                <c:pt idx="67">
                  <c:v>1.0831</c:v>
                </c:pt>
                <c:pt idx="68">
                  <c:v>1.0861000000000001</c:v>
                </c:pt>
                <c:pt idx="69">
                  <c:v>1.089</c:v>
                </c:pt>
                <c:pt idx="70">
                  <c:v>1.0909</c:v>
                </c:pt>
                <c:pt idx="71">
                  <c:v>1.093</c:v>
                </c:pt>
                <c:pt idx="72">
                  <c:v>1.093</c:v>
                </c:pt>
                <c:pt idx="73">
                  <c:v>1.093</c:v>
                </c:pt>
                <c:pt idx="74">
                  <c:v>1.0980000000000001</c:v>
                </c:pt>
                <c:pt idx="75">
                  <c:v>1.097</c:v>
                </c:pt>
                <c:pt idx="76">
                  <c:v>1.0975999999999999</c:v>
                </c:pt>
                <c:pt idx="77">
                  <c:v>1.1031</c:v>
                </c:pt>
                <c:pt idx="78">
                  <c:v>1.1045</c:v>
                </c:pt>
                <c:pt idx="79">
                  <c:v>1.1067</c:v>
                </c:pt>
                <c:pt idx="80">
                  <c:v>1.1133999999999999</c:v>
                </c:pt>
                <c:pt idx="81">
                  <c:v>1.1163000000000001</c:v>
                </c:pt>
                <c:pt idx="82">
                  <c:v>1.1175999999999999</c:v>
                </c:pt>
                <c:pt idx="83">
                  <c:v>1.1132</c:v>
                </c:pt>
                <c:pt idx="84">
                  <c:v>1.1180000000000001</c:v>
                </c:pt>
                <c:pt idx="85">
                  <c:v>1.1112</c:v>
                </c:pt>
                <c:pt idx="86">
                  <c:v>1.1162000000000001</c:v>
                </c:pt>
                <c:pt idx="87">
                  <c:v>1.1161000000000001</c:v>
                </c:pt>
                <c:pt idx="88">
                  <c:v>1.1117999999999999</c:v>
                </c:pt>
                <c:pt idx="89">
                  <c:v>1.1113</c:v>
                </c:pt>
                <c:pt idx="90">
                  <c:v>1.1132</c:v>
                </c:pt>
                <c:pt idx="91">
                  <c:v>1.1075999999999999</c:v>
                </c:pt>
                <c:pt idx="92">
                  <c:v>1.1073999999999999</c:v>
                </c:pt>
                <c:pt idx="93">
                  <c:v>1.1011</c:v>
                </c:pt>
                <c:pt idx="94">
                  <c:v>1.1019000000000001</c:v>
                </c:pt>
                <c:pt idx="95">
                  <c:v>1.1033999999999999</c:v>
                </c:pt>
                <c:pt idx="96">
                  <c:v>1.1083000000000001</c:v>
                </c:pt>
                <c:pt idx="97">
                  <c:v>1.111</c:v>
                </c:pt>
                <c:pt idx="98">
                  <c:v>1.1082000000000001</c:v>
                </c:pt>
                <c:pt idx="99">
                  <c:v>1.1043000000000001</c:v>
                </c:pt>
                <c:pt idx="100">
                  <c:v>1.1071</c:v>
                </c:pt>
                <c:pt idx="101">
                  <c:v>1.1047</c:v>
                </c:pt>
                <c:pt idx="102">
                  <c:v>1.1076999999999999</c:v>
                </c:pt>
                <c:pt idx="103">
                  <c:v>1.1120000000000001</c:v>
                </c:pt>
                <c:pt idx="104">
                  <c:v>1.1184000000000001</c:v>
                </c:pt>
                <c:pt idx="105">
                  <c:v>1.1161000000000001</c:v>
                </c:pt>
                <c:pt idx="106">
                  <c:v>1.119</c:v>
                </c:pt>
                <c:pt idx="107">
                  <c:v>1.1112</c:v>
                </c:pt>
                <c:pt idx="108">
                  <c:v>1.115</c:v>
                </c:pt>
                <c:pt idx="109">
                  <c:v>1.113</c:v>
                </c:pt>
                <c:pt idx="110">
                  <c:v>1.1085</c:v>
                </c:pt>
                <c:pt idx="111">
                  <c:v>1.1028</c:v>
                </c:pt>
                <c:pt idx="112">
                  <c:v>1.0971</c:v>
                </c:pt>
                <c:pt idx="113">
                  <c:v>1.1012</c:v>
                </c:pt>
                <c:pt idx="114">
                  <c:v>1.0992</c:v>
                </c:pt>
                <c:pt idx="115">
                  <c:v>1.0931</c:v>
                </c:pt>
                <c:pt idx="116">
                  <c:v>1.0915999999999999</c:v>
                </c:pt>
                <c:pt idx="117">
                  <c:v>1.0918000000000001</c:v>
                </c:pt>
                <c:pt idx="118">
                  <c:v>1.0921000000000001</c:v>
                </c:pt>
                <c:pt idx="119">
                  <c:v>1.093</c:v>
                </c:pt>
                <c:pt idx="120">
                  <c:v>1.0952</c:v>
                </c:pt>
                <c:pt idx="121">
                  <c:v>1.0908</c:v>
                </c:pt>
                <c:pt idx="122">
                  <c:v>1.0790999999999999</c:v>
                </c:pt>
                <c:pt idx="123">
                  <c:v>1.0825</c:v>
                </c:pt>
                <c:pt idx="124">
                  <c:v>1.0814999999999999</c:v>
                </c:pt>
                <c:pt idx="125">
                  <c:v>1.0819000000000001</c:v>
                </c:pt>
                <c:pt idx="126">
                  <c:v>1.0857000000000001</c:v>
                </c:pt>
                <c:pt idx="127">
                  <c:v>1.0844</c:v>
                </c:pt>
                <c:pt idx="128">
                  <c:v>1.0839000000000001</c:v>
                </c:pt>
                <c:pt idx="129">
                  <c:v>1.0851</c:v>
                </c:pt>
                <c:pt idx="130">
                  <c:v>1.0889</c:v>
                </c:pt>
                <c:pt idx="131" formatCode="0.000">
                  <c:v>1.0880000000000001</c:v>
                </c:pt>
                <c:pt idx="132">
                  <c:v>1.0895999999999999</c:v>
                </c:pt>
                <c:pt idx="133">
                  <c:v>1.0936999999999999</c:v>
                </c:pt>
                <c:pt idx="134">
                  <c:v>1.0896999999999999</c:v>
                </c:pt>
                <c:pt idx="135">
                  <c:v>1.0893999999999999</c:v>
                </c:pt>
                <c:pt idx="136">
                  <c:v>1.0906</c:v>
                </c:pt>
                <c:pt idx="137">
                  <c:v>1.0865</c:v>
                </c:pt>
                <c:pt idx="138">
                  <c:v>1.083</c:v>
                </c:pt>
                <c:pt idx="139">
                  <c:v>1.0811999999999999</c:v>
                </c:pt>
                <c:pt idx="140">
                  <c:v>1.0822000000000001</c:v>
                </c:pt>
                <c:pt idx="141">
                  <c:v>1.0835999999999999</c:v>
                </c:pt>
                <c:pt idx="142">
                  <c:v>1.081</c:v>
                </c:pt>
                <c:pt idx="143">
                  <c:v>1.0786</c:v>
                </c:pt>
                <c:pt idx="144">
                  <c:v>1.0744</c:v>
                </c:pt>
                <c:pt idx="145">
                  <c:v>1.0738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28-49E5-9EFD-B6CEFCFA79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7148719"/>
        <c:axId val="1952251423"/>
      </c:lineChart>
      <c:dateAx>
        <c:axId val="1737148719"/>
        <c:scaling>
          <c:orientation val="minMax"/>
          <c:min val="45534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952251423"/>
        <c:crosses val="autoZero"/>
        <c:auto val="1"/>
        <c:lblOffset val="100"/>
        <c:baseTimeUnit val="days"/>
        <c:majorUnit val="9"/>
        <c:majorTimeUnit val="days"/>
      </c:dateAx>
      <c:valAx>
        <c:axId val="1952251423"/>
        <c:scaling>
          <c:orientation val="minMax"/>
          <c:min val="1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737148719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latin typeface="Corbel" panose="020B0503020204020204" pitchFamily="34" charset="0"/>
        </a:defRPr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5">
                    <a:lumMod val="7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r>
              <a:rPr lang="ru-RU" sz="1100" dirty="0">
                <a:solidFill>
                  <a:schemeClr val="accent5">
                    <a:lumMod val="75000"/>
                  </a:schemeClr>
                </a:solidFill>
              </a:rPr>
              <a:t>Динамика цен на золото </a:t>
            </a:r>
            <a:br>
              <a:rPr lang="ru-RU" sz="1100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1100" dirty="0">
                <a:solidFill>
                  <a:schemeClr val="accent5">
                    <a:lumMod val="75000"/>
                  </a:schemeClr>
                </a:solidFill>
              </a:rPr>
              <a:t>(за унцию в долл. США)</a:t>
            </a:r>
          </a:p>
        </c:rich>
      </c:tx>
      <c:layout>
        <c:manualLayout>
          <c:xMode val="edge"/>
          <c:yMode val="edge"/>
          <c:x val="0.25218960201186535"/>
          <c:y val="2.56641388514274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accent5">
                  <a:lumMod val="75000"/>
                </a:schemeClr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368859372736966"/>
          <c:y val="0.25035827194100579"/>
          <c:w val="0.85417373656142259"/>
          <c:h val="0.47101062661235149"/>
        </c:manualLayout>
      </c:layout>
      <c:lineChart>
        <c:grouping val="standard"/>
        <c:varyColors val="0"/>
        <c:ser>
          <c:idx val="0"/>
          <c:order val="0"/>
          <c:spPr>
            <a:ln w="34925" cap="rnd">
              <a:solidFill>
                <a:schemeClr val="accent5">
                  <a:lumMod val="75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GOLD!$A$9:$A$147</c:f>
              <c:numCache>
                <c:formatCode>m/d/yyyy</c:formatCode>
                <c:ptCount val="139"/>
                <c:pt idx="0">
                  <c:v>45677</c:v>
                </c:pt>
                <c:pt idx="1">
                  <c:v>45674</c:v>
                </c:pt>
                <c:pt idx="2">
                  <c:v>45673</c:v>
                </c:pt>
                <c:pt idx="3">
                  <c:v>45672</c:v>
                </c:pt>
                <c:pt idx="4">
                  <c:v>45671</c:v>
                </c:pt>
                <c:pt idx="5">
                  <c:v>45670</c:v>
                </c:pt>
                <c:pt idx="6">
                  <c:v>45667</c:v>
                </c:pt>
                <c:pt idx="7">
                  <c:v>45666</c:v>
                </c:pt>
                <c:pt idx="8">
                  <c:v>45665</c:v>
                </c:pt>
                <c:pt idx="9">
                  <c:v>45664</c:v>
                </c:pt>
                <c:pt idx="10">
                  <c:v>45663</c:v>
                </c:pt>
                <c:pt idx="11">
                  <c:v>45660</c:v>
                </c:pt>
                <c:pt idx="12">
                  <c:v>45659</c:v>
                </c:pt>
                <c:pt idx="13">
                  <c:v>45658</c:v>
                </c:pt>
                <c:pt idx="14">
                  <c:v>45657</c:v>
                </c:pt>
                <c:pt idx="15">
                  <c:v>45656</c:v>
                </c:pt>
                <c:pt idx="16">
                  <c:v>45655</c:v>
                </c:pt>
                <c:pt idx="17">
                  <c:v>45654</c:v>
                </c:pt>
                <c:pt idx="18">
                  <c:v>45653</c:v>
                </c:pt>
                <c:pt idx="19">
                  <c:v>45652</c:v>
                </c:pt>
                <c:pt idx="20">
                  <c:v>45651</c:v>
                </c:pt>
                <c:pt idx="21">
                  <c:v>45650</c:v>
                </c:pt>
                <c:pt idx="22">
                  <c:v>45649</c:v>
                </c:pt>
                <c:pt idx="23">
                  <c:v>45646</c:v>
                </c:pt>
                <c:pt idx="24">
                  <c:v>45645</c:v>
                </c:pt>
                <c:pt idx="25">
                  <c:v>45644</c:v>
                </c:pt>
                <c:pt idx="26">
                  <c:v>45643</c:v>
                </c:pt>
                <c:pt idx="27">
                  <c:v>45642</c:v>
                </c:pt>
                <c:pt idx="28">
                  <c:v>45639</c:v>
                </c:pt>
                <c:pt idx="29">
                  <c:v>45638</c:v>
                </c:pt>
                <c:pt idx="30">
                  <c:v>45637</c:v>
                </c:pt>
                <c:pt idx="31">
                  <c:v>45636</c:v>
                </c:pt>
                <c:pt idx="32">
                  <c:v>45635</c:v>
                </c:pt>
                <c:pt idx="33">
                  <c:v>45632</c:v>
                </c:pt>
                <c:pt idx="34">
                  <c:v>45631</c:v>
                </c:pt>
                <c:pt idx="35">
                  <c:v>45630</c:v>
                </c:pt>
                <c:pt idx="36">
                  <c:v>45629</c:v>
                </c:pt>
                <c:pt idx="37">
                  <c:v>45628</c:v>
                </c:pt>
                <c:pt idx="38">
                  <c:v>45625</c:v>
                </c:pt>
                <c:pt idx="39">
                  <c:v>45624</c:v>
                </c:pt>
                <c:pt idx="40">
                  <c:v>45623</c:v>
                </c:pt>
                <c:pt idx="41">
                  <c:v>45622</c:v>
                </c:pt>
                <c:pt idx="42">
                  <c:v>45621</c:v>
                </c:pt>
                <c:pt idx="43">
                  <c:v>45618</c:v>
                </c:pt>
                <c:pt idx="44">
                  <c:v>45617</c:v>
                </c:pt>
                <c:pt idx="45">
                  <c:v>45616</c:v>
                </c:pt>
                <c:pt idx="46">
                  <c:v>45615</c:v>
                </c:pt>
                <c:pt idx="47">
                  <c:v>45614</c:v>
                </c:pt>
                <c:pt idx="48">
                  <c:v>45611</c:v>
                </c:pt>
                <c:pt idx="49">
                  <c:v>45610</c:v>
                </c:pt>
                <c:pt idx="50">
                  <c:v>45609</c:v>
                </c:pt>
                <c:pt idx="51">
                  <c:v>45608</c:v>
                </c:pt>
                <c:pt idx="52">
                  <c:v>45607</c:v>
                </c:pt>
                <c:pt idx="53">
                  <c:v>45604</c:v>
                </c:pt>
                <c:pt idx="54">
                  <c:v>45603</c:v>
                </c:pt>
                <c:pt idx="55">
                  <c:v>45602</c:v>
                </c:pt>
                <c:pt idx="56">
                  <c:v>45601</c:v>
                </c:pt>
                <c:pt idx="57">
                  <c:v>45600</c:v>
                </c:pt>
                <c:pt idx="58">
                  <c:v>45597</c:v>
                </c:pt>
                <c:pt idx="59">
                  <c:v>45596</c:v>
                </c:pt>
                <c:pt idx="60">
                  <c:v>45595</c:v>
                </c:pt>
                <c:pt idx="61">
                  <c:v>45594</c:v>
                </c:pt>
                <c:pt idx="62">
                  <c:v>45593</c:v>
                </c:pt>
                <c:pt idx="63">
                  <c:v>45590</c:v>
                </c:pt>
                <c:pt idx="64">
                  <c:v>45589</c:v>
                </c:pt>
                <c:pt idx="65">
                  <c:v>45588</c:v>
                </c:pt>
                <c:pt idx="66">
                  <c:v>45587</c:v>
                </c:pt>
                <c:pt idx="67">
                  <c:v>45586</c:v>
                </c:pt>
                <c:pt idx="68">
                  <c:v>45583</c:v>
                </c:pt>
                <c:pt idx="69">
                  <c:v>45582</c:v>
                </c:pt>
                <c:pt idx="70">
                  <c:v>45581</c:v>
                </c:pt>
                <c:pt idx="71">
                  <c:v>45580</c:v>
                </c:pt>
                <c:pt idx="72">
                  <c:v>45579</c:v>
                </c:pt>
                <c:pt idx="73">
                  <c:v>45576</c:v>
                </c:pt>
                <c:pt idx="74">
                  <c:v>45575</c:v>
                </c:pt>
                <c:pt idx="75">
                  <c:v>45574</c:v>
                </c:pt>
                <c:pt idx="76">
                  <c:v>45573</c:v>
                </c:pt>
                <c:pt idx="77">
                  <c:v>45572</c:v>
                </c:pt>
                <c:pt idx="78">
                  <c:v>45569</c:v>
                </c:pt>
                <c:pt idx="79">
                  <c:v>45568</c:v>
                </c:pt>
                <c:pt idx="80">
                  <c:v>45567</c:v>
                </c:pt>
                <c:pt idx="81">
                  <c:v>45566</c:v>
                </c:pt>
                <c:pt idx="82">
                  <c:v>45565</c:v>
                </c:pt>
                <c:pt idx="83">
                  <c:v>45562</c:v>
                </c:pt>
                <c:pt idx="84">
                  <c:v>45561</c:v>
                </c:pt>
                <c:pt idx="85">
                  <c:v>45560</c:v>
                </c:pt>
                <c:pt idx="86">
                  <c:v>45559</c:v>
                </c:pt>
                <c:pt idx="87">
                  <c:v>45558</c:v>
                </c:pt>
                <c:pt idx="88">
                  <c:v>45555</c:v>
                </c:pt>
                <c:pt idx="89">
                  <c:v>45554</c:v>
                </c:pt>
                <c:pt idx="90">
                  <c:v>45553</c:v>
                </c:pt>
                <c:pt idx="91">
                  <c:v>45552</c:v>
                </c:pt>
                <c:pt idx="92">
                  <c:v>45551</c:v>
                </c:pt>
                <c:pt idx="93">
                  <c:v>45548</c:v>
                </c:pt>
                <c:pt idx="94">
                  <c:v>45547</c:v>
                </c:pt>
                <c:pt idx="95">
                  <c:v>45546</c:v>
                </c:pt>
                <c:pt idx="96">
                  <c:v>45545</c:v>
                </c:pt>
                <c:pt idx="97">
                  <c:v>45544</c:v>
                </c:pt>
                <c:pt idx="98">
                  <c:v>45541</c:v>
                </c:pt>
                <c:pt idx="99">
                  <c:v>45540</c:v>
                </c:pt>
                <c:pt idx="100">
                  <c:v>45539</c:v>
                </c:pt>
                <c:pt idx="101">
                  <c:v>45538</c:v>
                </c:pt>
                <c:pt idx="102">
                  <c:v>45537</c:v>
                </c:pt>
                <c:pt idx="103">
                  <c:v>45534</c:v>
                </c:pt>
                <c:pt idx="104">
                  <c:v>45533</c:v>
                </c:pt>
                <c:pt idx="105">
                  <c:v>45532</c:v>
                </c:pt>
                <c:pt idx="106">
                  <c:v>45531</c:v>
                </c:pt>
                <c:pt idx="107">
                  <c:v>45530</c:v>
                </c:pt>
                <c:pt idx="108">
                  <c:v>45527</c:v>
                </c:pt>
                <c:pt idx="109">
                  <c:v>45526</c:v>
                </c:pt>
                <c:pt idx="110">
                  <c:v>45525</c:v>
                </c:pt>
                <c:pt idx="111">
                  <c:v>45524</c:v>
                </c:pt>
                <c:pt idx="112">
                  <c:v>45523</c:v>
                </c:pt>
                <c:pt idx="113">
                  <c:v>45520</c:v>
                </c:pt>
                <c:pt idx="114">
                  <c:v>45519</c:v>
                </c:pt>
                <c:pt idx="115">
                  <c:v>45518</c:v>
                </c:pt>
                <c:pt idx="116">
                  <c:v>45517</c:v>
                </c:pt>
                <c:pt idx="117">
                  <c:v>45516</c:v>
                </c:pt>
                <c:pt idx="118">
                  <c:v>45513</c:v>
                </c:pt>
                <c:pt idx="119">
                  <c:v>45512</c:v>
                </c:pt>
                <c:pt idx="120">
                  <c:v>45511</c:v>
                </c:pt>
                <c:pt idx="121">
                  <c:v>45510</c:v>
                </c:pt>
                <c:pt idx="122">
                  <c:v>45509</c:v>
                </c:pt>
                <c:pt idx="123">
                  <c:v>45506</c:v>
                </c:pt>
                <c:pt idx="124">
                  <c:v>45505</c:v>
                </c:pt>
                <c:pt idx="125">
                  <c:v>45504</c:v>
                </c:pt>
                <c:pt idx="126">
                  <c:v>45503</c:v>
                </c:pt>
                <c:pt idx="127">
                  <c:v>45502</c:v>
                </c:pt>
                <c:pt idx="128">
                  <c:v>45499</c:v>
                </c:pt>
                <c:pt idx="129">
                  <c:v>45498</c:v>
                </c:pt>
                <c:pt idx="130">
                  <c:v>45497</c:v>
                </c:pt>
                <c:pt idx="131">
                  <c:v>45496</c:v>
                </c:pt>
                <c:pt idx="132">
                  <c:v>45495</c:v>
                </c:pt>
                <c:pt idx="133">
                  <c:v>45492</c:v>
                </c:pt>
                <c:pt idx="134">
                  <c:v>45491</c:v>
                </c:pt>
                <c:pt idx="135">
                  <c:v>45490</c:v>
                </c:pt>
                <c:pt idx="136">
                  <c:v>45489</c:v>
                </c:pt>
                <c:pt idx="137">
                  <c:v>45488</c:v>
                </c:pt>
                <c:pt idx="138">
                  <c:v>45485</c:v>
                </c:pt>
              </c:numCache>
            </c:numRef>
          </c:cat>
          <c:val>
            <c:numRef>
              <c:f>GOLD!$B$9:$B$152</c:f>
              <c:numCache>
                <c:formatCode>0.0</c:formatCode>
                <c:ptCount val="144"/>
                <c:pt idx="0">
                  <c:v>2677</c:v>
                </c:pt>
                <c:pt idx="1">
                  <c:v>2701</c:v>
                </c:pt>
                <c:pt idx="2">
                  <c:v>2713</c:v>
                </c:pt>
                <c:pt idx="3">
                  <c:v>2695</c:v>
                </c:pt>
                <c:pt idx="4">
                  <c:v>2677</c:v>
                </c:pt>
                <c:pt idx="5">
                  <c:v>2684</c:v>
                </c:pt>
                <c:pt idx="6">
                  <c:v>2689</c:v>
                </c:pt>
                <c:pt idx="7">
                  <c:v>2670</c:v>
                </c:pt>
                <c:pt idx="8">
                  <c:v>2662</c:v>
                </c:pt>
                <c:pt idx="9">
                  <c:v>2649</c:v>
                </c:pt>
                <c:pt idx="10">
                  <c:v>2635</c:v>
                </c:pt>
                <c:pt idx="11">
                  <c:v>2659</c:v>
                </c:pt>
                <c:pt idx="12">
                  <c:v>2657</c:v>
                </c:pt>
                <c:pt idx="13">
                  <c:v>2623</c:v>
                </c:pt>
                <c:pt idx="14">
                  <c:v>2623</c:v>
                </c:pt>
                <c:pt idx="15">
                  <c:v>2605</c:v>
                </c:pt>
                <c:pt idx="16">
                  <c:v>2620</c:v>
                </c:pt>
                <c:pt idx="17">
                  <c:v>2620</c:v>
                </c:pt>
                <c:pt idx="18">
                  <c:v>2620</c:v>
                </c:pt>
                <c:pt idx="19">
                  <c:v>2613</c:v>
                </c:pt>
                <c:pt idx="20">
                  <c:v>2613</c:v>
                </c:pt>
                <c:pt idx="21">
                  <c:v>2613</c:v>
                </c:pt>
                <c:pt idx="22">
                  <c:v>2625</c:v>
                </c:pt>
                <c:pt idx="23">
                  <c:v>2620</c:v>
                </c:pt>
                <c:pt idx="24">
                  <c:v>2593</c:v>
                </c:pt>
                <c:pt idx="25">
                  <c:v>2587</c:v>
                </c:pt>
                <c:pt idx="26">
                  <c:v>2645</c:v>
                </c:pt>
                <c:pt idx="27">
                  <c:v>2653</c:v>
                </c:pt>
                <c:pt idx="28">
                  <c:v>2648</c:v>
                </c:pt>
                <c:pt idx="29">
                  <c:v>2681</c:v>
                </c:pt>
                <c:pt idx="30">
                  <c:v>2717</c:v>
                </c:pt>
                <c:pt idx="31">
                  <c:v>2672</c:v>
                </c:pt>
                <c:pt idx="32">
                  <c:v>2658</c:v>
                </c:pt>
                <c:pt idx="33">
                  <c:v>2632</c:v>
                </c:pt>
                <c:pt idx="34">
                  <c:v>2632</c:v>
                </c:pt>
                <c:pt idx="35">
                  <c:v>2649</c:v>
                </c:pt>
                <c:pt idx="36">
                  <c:v>2643</c:v>
                </c:pt>
                <c:pt idx="37">
                  <c:v>2629</c:v>
                </c:pt>
                <c:pt idx="38">
                  <c:v>2664</c:v>
                </c:pt>
                <c:pt idx="39">
                  <c:v>2640</c:v>
                </c:pt>
                <c:pt idx="40">
                  <c:v>2635</c:v>
                </c:pt>
                <c:pt idx="41">
                  <c:v>2631</c:v>
                </c:pt>
                <c:pt idx="42">
                  <c:v>2625</c:v>
                </c:pt>
                <c:pt idx="43">
                  <c:v>2687</c:v>
                </c:pt>
                <c:pt idx="44">
                  <c:v>2669</c:v>
                </c:pt>
                <c:pt idx="45">
                  <c:v>2650</c:v>
                </c:pt>
                <c:pt idx="46">
                  <c:v>2631</c:v>
                </c:pt>
                <c:pt idx="47">
                  <c:v>2587</c:v>
                </c:pt>
                <c:pt idx="48">
                  <c:v>2564</c:v>
                </c:pt>
                <c:pt idx="49">
                  <c:v>2566</c:v>
                </c:pt>
                <c:pt idx="50">
                  <c:v>2573</c:v>
                </c:pt>
                <c:pt idx="51">
                  <c:v>2597</c:v>
                </c:pt>
                <c:pt idx="52">
                  <c:v>2620</c:v>
                </c:pt>
                <c:pt idx="53">
                  <c:v>2695</c:v>
                </c:pt>
                <c:pt idx="54">
                  <c:v>2659</c:v>
                </c:pt>
                <c:pt idx="55">
                  <c:v>2709</c:v>
                </c:pt>
                <c:pt idx="56">
                  <c:v>2743</c:v>
                </c:pt>
                <c:pt idx="57">
                  <c:v>2738</c:v>
                </c:pt>
                <c:pt idx="58">
                  <c:v>2735</c:v>
                </c:pt>
                <c:pt idx="59">
                  <c:v>2743.8</c:v>
                </c:pt>
                <c:pt idx="60">
                  <c:v>2786</c:v>
                </c:pt>
                <c:pt idx="61">
                  <c:v>2775</c:v>
                </c:pt>
                <c:pt idx="62">
                  <c:v>2741</c:v>
                </c:pt>
                <c:pt idx="63">
                  <c:v>2728</c:v>
                </c:pt>
                <c:pt idx="64">
                  <c:v>2735</c:v>
                </c:pt>
                <c:pt idx="65">
                  <c:v>2717</c:v>
                </c:pt>
                <c:pt idx="66">
                  <c:v>2748</c:v>
                </c:pt>
                <c:pt idx="67">
                  <c:v>2727</c:v>
                </c:pt>
                <c:pt idx="68">
                  <c:v>2720</c:v>
                </c:pt>
                <c:pt idx="69">
                  <c:v>2692</c:v>
                </c:pt>
                <c:pt idx="70">
                  <c:v>2673</c:v>
                </c:pt>
                <c:pt idx="71">
                  <c:v>2660</c:v>
                </c:pt>
                <c:pt idx="72">
                  <c:v>2651</c:v>
                </c:pt>
                <c:pt idx="73">
                  <c:v>2655</c:v>
                </c:pt>
                <c:pt idx="74">
                  <c:v>2629</c:v>
                </c:pt>
                <c:pt idx="75">
                  <c:v>2607</c:v>
                </c:pt>
                <c:pt idx="76">
                  <c:v>2621</c:v>
                </c:pt>
                <c:pt idx="77">
                  <c:v>2643</c:v>
                </c:pt>
                <c:pt idx="78">
                  <c:v>2652</c:v>
                </c:pt>
                <c:pt idx="79">
                  <c:v>2655</c:v>
                </c:pt>
                <c:pt idx="80">
                  <c:v>2658</c:v>
                </c:pt>
                <c:pt idx="81">
                  <c:v>2662</c:v>
                </c:pt>
                <c:pt idx="82">
                  <c:v>2634</c:v>
                </c:pt>
                <c:pt idx="83">
                  <c:v>2658</c:v>
                </c:pt>
                <c:pt idx="84">
                  <c:v>2670</c:v>
                </c:pt>
                <c:pt idx="85">
                  <c:v>2656</c:v>
                </c:pt>
                <c:pt idx="86">
                  <c:v>2656</c:v>
                </c:pt>
                <c:pt idx="87">
                  <c:v>2628</c:v>
                </c:pt>
                <c:pt idx="88">
                  <c:v>2621</c:v>
                </c:pt>
                <c:pt idx="89">
                  <c:v>2586</c:v>
                </c:pt>
                <c:pt idx="90">
                  <c:v>2558</c:v>
                </c:pt>
                <c:pt idx="91">
                  <c:v>2569</c:v>
                </c:pt>
                <c:pt idx="92">
                  <c:v>2582</c:v>
                </c:pt>
                <c:pt idx="93">
                  <c:v>2576</c:v>
                </c:pt>
                <c:pt idx="94">
                  <c:v>2558</c:v>
                </c:pt>
                <c:pt idx="95">
                  <c:v>2511</c:v>
                </c:pt>
                <c:pt idx="96">
                  <c:v>2516</c:v>
                </c:pt>
                <c:pt idx="97">
                  <c:v>2496</c:v>
                </c:pt>
                <c:pt idx="98">
                  <c:v>2497</c:v>
                </c:pt>
                <c:pt idx="99">
                  <c:v>2516</c:v>
                </c:pt>
                <c:pt idx="100">
                  <c:v>2494</c:v>
                </c:pt>
                <c:pt idx="101">
                  <c:v>2492</c:v>
                </c:pt>
                <c:pt idx="102">
                  <c:v>2499</c:v>
                </c:pt>
                <c:pt idx="103">
                  <c:v>2503</c:v>
                </c:pt>
                <c:pt idx="104">
                  <c:v>2521</c:v>
                </c:pt>
                <c:pt idx="105">
                  <c:v>2502</c:v>
                </c:pt>
                <c:pt idx="106">
                  <c:v>2524</c:v>
                </c:pt>
                <c:pt idx="107">
                  <c:v>2522</c:v>
                </c:pt>
                <c:pt idx="108">
                  <c:v>2512</c:v>
                </c:pt>
                <c:pt idx="109">
                  <c:v>2483</c:v>
                </c:pt>
                <c:pt idx="110">
                  <c:v>2511</c:v>
                </c:pt>
                <c:pt idx="111">
                  <c:v>2513</c:v>
                </c:pt>
                <c:pt idx="112" formatCode="General">
                  <c:v>2503</c:v>
                </c:pt>
                <c:pt idx="113">
                  <c:v>2507</c:v>
                </c:pt>
                <c:pt idx="114">
                  <c:v>2456</c:v>
                </c:pt>
                <c:pt idx="115">
                  <c:v>2447.6</c:v>
                </c:pt>
                <c:pt idx="116">
                  <c:v>2465</c:v>
                </c:pt>
                <c:pt idx="117">
                  <c:v>2472</c:v>
                </c:pt>
                <c:pt idx="118">
                  <c:v>2426.6999999999998</c:v>
                </c:pt>
                <c:pt idx="119">
                  <c:v>2426.6999999999998</c:v>
                </c:pt>
                <c:pt idx="120">
                  <c:v>2381.5</c:v>
                </c:pt>
                <c:pt idx="121">
                  <c:v>2389.6999999999998</c:v>
                </c:pt>
                <c:pt idx="122">
                  <c:v>2407.6</c:v>
                </c:pt>
                <c:pt idx="123">
                  <c:v>2443.1999999999998</c:v>
                </c:pt>
                <c:pt idx="124">
                  <c:v>2448</c:v>
                </c:pt>
                <c:pt idx="125">
                  <c:v>2408</c:v>
                </c:pt>
                <c:pt idx="126">
                  <c:v>2383</c:v>
                </c:pt>
                <c:pt idx="127">
                  <c:v>2383</c:v>
                </c:pt>
                <c:pt idx="128">
                  <c:v>2385.6</c:v>
                </c:pt>
                <c:pt idx="129">
                  <c:v>2364.5</c:v>
                </c:pt>
                <c:pt idx="130">
                  <c:v>2397.6</c:v>
                </c:pt>
                <c:pt idx="131">
                  <c:v>2409</c:v>
                </c:pt>
                <c:pt idx="132">
                  <c:v>2397</c:v>
                </c:pt>
                <c:pt idx="133">
                  <c:v>2400.8000000000002</c:v>
                </c:pt>
                <c:pt idx="134">
                  <c:v>2444.96</c:v>
                </c:pt>
                <c:pt idx="135">
                  <c:v>2458.4</c:v>
                </c:pt>
                <c:pt idx="136">
                  <c:v>2468.6</c:v>
                </c:pt>
                <c:pt idx="137">
                  <c:v>2422</c:v>
                </c:pt>
                <c:pt idx="138">
                  <c:v>2411</c:v>
                </c:pt>
                <c:pt idx="139">
                  <c:v>2414.77</c:v>
                </c:pt>
                <c:pt idx="140">
                  <c:v>2371</c:v>
                </c:pt>
                <c:pt idx="141">
                  <c:v>2363.6</c:v>
                </c:pt>
                <c:pt idx="142">
                  <c:v>2358.8000000000002</c:v>
                </c:pt>
                <c:pt idx="143">
                  <c:v>2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98-44A3-9EC9-0FF4CC232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93600080"/>
        <c:axId val="1093598416"/>
      </c:lineChart>
      <c:dateAx>
        <c:axId val="10936000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093598416"/>
        <c:crosses val="autoZero"/>
        <c:auto val="1"/>
        <c:lblOffset val="100"/>
        <c:baseTimeUnit val="days"/>
        <c:majorUnit val="15"/>
        <c:majorTimeUnit val="days"/>
      </c:dateAx>
      <c:valAx>
        <c:axId val="1093598416"/>
        <c:scaling>
          <c:orientation val="minMax"/>
          <c:max val="2800"/>
          <c:min val="220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ru-RU"/>
          </a:p>
        </c:txPr>
        <c:crossAx val="1093600080"/>
        <c:crosses val="autoZero"/>
        <c:crossBetween val="between"/>
      </c:valAx>
      <c:spPr>
        <a:gradFill flip="none" rotWithShape="1">
          <a:gsLst>
            <a:gs pos="0">
              <a:schemeClr val="accent5">
                <a:lumMod val="5000"/>
                <a:lumOff val="95000"/>
              </a:schemeClr>
            </a:gs>
            <a:gs pos="74000">
              <a:schemeClr val="accent5">
                <a:lumMod val="45000"/>
                <a:lumOff val="55000"/>
              </a:schemeClr>
            </a:gs>
            <a:gs pos="83000">
              <a:schemeClr val="accent5">
                <a:lumMod val="45000"/>
                <a:lumOff val="55000"/>
              </a:schemeClr>
            </a:gs>
            <a:gs pos="100000">
              <a:schemeClr val="accent5">
                <a:lumMod val="30000"/>
                <a:lumOff val="70000"/>
              </a:schemeClr>
            </a:gs>
          </a:gsLst>
          <a:lin ang="5400000" scaled="1"/>
          <a:tileRect/>
        </a:gradFill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solidFill>
            <a:schemeClr val="tx1"/>
          </a:solidFill>
          <a:latin typeface="Corbel" panose="020B0503020204020204" pitchFamily="34" charset="0"/>
        </a:defRPr>
      </a:pPr>
      <a:endParaRPr lang="ru-RU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4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779</cdr:x>
      <cdr:y>0.62257</cdr:y>
    </cdr:from>
    <cdr:to>
      <cdr:x>0.97799</cdr:x>
      <cdr:y>0.70633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4C9C9173-23B6-46A5-B14B-C2C45E20EFE9}"/>
            </a:ext>
          </a:extLst>
        </cdr:cNvPr>
        <cdr:cNvSpPr/>
      </cdr:nvSpPr>
      <cdr:spPr>
        <a:xfrm xmlns:a="http://schemas.openxmlformats.org/drawingml/2006/main">
          <a:off x="2248315" y="1117395"/>
          <a:ext cx="578704" cy="150334"/>
        </a:xfrm>
        <a:prstGeom xmlns:a="http://schemas.openxmlformats.org/drawingml/2006/main" prst="rect">
          <a:avLst/>
        </a:prstGeom>
        <a:solidFill xmlns:a="http://schemas.openxmlformats.org/drawingml/2006/main">
          <a:srgbClr val="651BEB"/>
        </a:solidFill>
        <a:ln xmlns:a="http://schemas.openxmlformats.org/drawingml/2006/main">
          <a:solidFill>
            <a:schemeClr val="accent5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 b="1" dirty="0"/>
            <a:t>$ 2677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9647</cdr:x>
      <cdr:y>0.23739</cdr:y>
    </cdr:from>
    <cdr:to>
      <cdr:x>0.96056</cdr:x>
      <cdr:y>0.31369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3452C6B0-83BD-4BA9-A689-7A5849E0CE30}"/>
            </a:ext>
          </a:extLst>
        </cdr:cNvPr>
        <cdr:cNvSpPr/>
      </cdr:nvSpPr>
      <cdr:spPr>
        <a:xfrm xmlns:a="http://schemas.openxmlformats.org/drawingml/2006/main">
          <a:off x="2397309" y="475733"/>
          <a:ext cx="493894" cy="152917"/>
        </a:xfrm>
        <a:prstGeom xmlns:a="http://schemas.openxmlformats.org/drawingml/2006/main" prst="rect">
          <a:avLst/>
        </a:prstGeom>
        <a:solidFill xmlns:a="http://schemas.openxmlformats.org/drawingml/2006/main">
          <a:srgbClr val="651BEB"/>
        </a:solidFill>
        <a:ln xmlns:a="http://schemas.openxmlformats.org/drawingml/2006/main">
          <a:solidFill>
            <a:schemeClr val="accent5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 b="1" dirty="0"/>
            <a:t>$80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8798</cdr:x>
      <cdr:y>0.15083</cdr:y>
    </cdr:from>
    <cdr:to>
      <cdr:x>0.97249</cdr:x>
      <cdr:y>0.23688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6B0A03BF-E657-42BA-B0B4-0A2729CF747A}"/>
            </a:ext>
          </a:extLst>
        </cdr:cNvPr>
        <cdr:cNvSpPr/>
      </cdr:nvSpPr>
      <cdr:spPr>
        <a:xfrm xmlns:a="http://schemas.openxmlformats.org/drawingml/2006/main">
          <a:off x="2273232" y="311639"/>
          <a:ext cx="532290" cy="177799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20000"/>
            <a:lumOff val="80000"/>
          </a:schemeClr>
        </a:solidFill>
        <a:ln xmlns:a="http://schemas.openxmlformats.org/drawingml/2006/main">
          <a:solidFill>
            <a:srgbClr val="FFFFFF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>
              <a:solidFill>
                <a:schemeClr val="accent5">
                  <a:lumMod val="75000"/>
                </a:schemeClr>
              </a:solidFill>
            </a:rPr>
            <a:t>$48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468" cy="493941"/>
          </a:xfrm>
          <a:prstGeom prst="rect">
            <a:avLst/>
          </a:prstGeom>
        </p:spPr>
        <p:txBody>
          <a:bodyPr vert="horz" lIns="89772" tIns="44886" rIns="89772" bIns="4488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744" y="1"/>
            <a:ext cx="2918468" cy="493941"/>
          </a:xfrm>
          <a:prstGeom prst="rect">
            <a:avLst/>
          </a:prstGeom>
        </p:spPr>
        <p:txBody>
          <a:bodyPr vert="horz" lIns="89772" tIns="44886" rIns="89772" bIns="44886" rtlCol="0"/>
          <a:lstStyle>
            <a:lvl1pPr algn="r">
              <a:defRPr sz="1200"/>
            </a:lvl1pPr>
          </a:lstStyle>
          <a:p>
            <a:fld id="{6A2C5331-9C06-4D18-91B9-979BDAB8AF48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72" tIns="44886" rIns="89772" bIns="4488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733" y="4748710"/>
            <a:ext cx="5388300" cy="3884314"/>
          </a:xfrm>
          <a:prstGeom prst="rect">
            <a:avLst/>
          </a:prstGeom>
        </p:spPr>
        <p:txBody>
          <a:bodyPr vert="horz" lIns="89772" tIns="44886" rIns="89772" bIns="4488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2373"/>
            <a:ext cx="2918468" cy="493941"/>
          </a:xfrm>
          <a:prstGeom prst="rect">
            <a:avLst/>
          </a:prstGeom>
        </p:spPr>
        <p:txBody>
          <a:bodyPr vert="horz" lIns="89772" tIns="44886" rIns="89772" bIns="4488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744" y="9372373"/>
            <a:ext cx="2918468" cy="493941"/>
          </a:xfrm>
          <a:prstGeom prst="rect">
            <a:avLst/>
          </a:prstGeom>
        </p:spPr>
        <p:txBody>
          <a:bodyPr vert="horz" lIns="89772" tIns="44886" rIns="89772" bIns="44886" rtlCol="0" anchor="b"/>
          <a:lstStyle>
            <a:lvl1pPr algn="r">
              <a:defRPr sz="1200"/>
            </a:lvl1pPr>
          </a:lstStyle>
          <a:p>
            <a:fld id="{29EA20E2-A112-4292-9BCD-5A26D7E5CB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41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EA20E2-A112-4292-9BCD-5A26D7E5CBC1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1276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EA20E2-A112-4292-9BCD-5A26D7E5CBC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65399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EA20E2-A112-4292-9BCD-5A26D7E5CBC1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526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EA20E2-A112-4292-9BCD-5A26D7E5CBC1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45088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EA20E2-A112-4292-9BCD-5A26D7E5CBC1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3761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4.sv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2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23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25.jp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26.jp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23.jp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5568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28670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1488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>
            <a:extLst>
              <a:ext uri="{FF2B5EF4-FFF2-40B4-BE49-F238E27FC236}">
                <a16:creationId xmlns:a16="http://schemas.microsoft.com/office/drawing/2014/main" id="{D4053A23-C888-48C0-872F-07B86DD7F863}"/>
              </a:ext>
            </a:extLst>
          </p:cNvPr>
          <p:cNvSpPr>
            <a:spLocks noChangeAspect="1"/>
          </p:cNvSpPr>
          <p:nvPr userDrawn="1"/>
        </p:nvSpPr>
        <p:spPr>
          <a:xfrm>
            <a:off x="808734" y="981078"/>
            <a:ext cx="5737702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811262" y="971553"/>
            <a:ext cx="5737702" cy="4905375"/>
          </a:xfrm>
          <a:prstGeom prst="rect">
            <a:avLst/>
          </a:prstGeom>
          <a:gradFill>
            <a:gsLst>
              <a:gs pos="99000">
                <a:schemeClr val="accent5">
                  <a:lumMod val="75000"/>
                </a:schemeClr>
              </a:gs>
              <a:gs pos="0">
                <a:srgbClr val="2E75B6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8011" y="2398603"/>
            <a:ext cx="4267575" cy="2367199"/>
          </a:xfrm>
          <a:noFill/>
        </p:spPr>
        <p:txBody>
          <a:bodyPr lIns="0" tIns="0" rIns="0" bIns="0" anchor="t" anchorCtr="0"/>
          <a:lstStyle>
            <a:lvl1pPr algn="l">
              <a:defRPr sz="65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48011" y="5140139"/>
            <a:ext cx="4267575" cy="414344"/>
          </a:xfrm>
        </p:spPr>
        <p:txBody>
          <a:bodyPr wrap="square" anchor="b">
            <a:sp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8013" y="1140070"/>
            <a:ext cx="879673" cy="67678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5363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967763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E18074F-ACBE-4AC3-B1A6-0B6FA2CD4C21}"/>
              </a:ext>
            </a:extLst>
          </p:cNvPr>
          <p:cNvSpPr txBox="1">
            <a:spLocks/>
          </p:cNvSpPr>
          <p:nvPr userDrawn="1"/>
        </p:nvSpPr>
        <p:spPr>
          <a:xfrm>
            <a:off x="1" y="162011"/>
            <a:ext cx="9905999" cy="51029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55721" tIns="27861" rIns="55721" bIns="27861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46157" y="6356353"/>
            <a:ext cx="222885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F3D99BC-1EA5-46D3-9E2F-A3CBFD63F0A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FD94052-EE87-46DF-A5AE-F34625F393CB}"/>
              </a:ext>
            </a:extLst>
          </p:cNvPr>
          <p:cNvSpPr txBox="1">
            <a:spLocks/>
          </p:cNvSpPr>
          <p:nvPr userDrawn="1"/>
        </p:nvSpPr>
        <p:spPr>
          <a:xfrm>
            <a:off x="3281363" y="6268429"/>
            <a:ext cx="3343275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SQB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orbel" panose="020B0503020204020204" pitchFamily="34" charset="0"/>
              </a:rPr>
              <a:t> |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Corbel" panose="020B0503020204020204" pitchFamily="34" charset="0"/>
              </a:rPr>
              <a:t> </a:t>
            </a:r>
            <a:r>
              <a:rPr lang="ru-RU" sz="1000" dirty="0">
                <a:solidFill>
                  <a:schemeClr val="accent5">
                    <a:lumMod val="75000"/>
                  </a:schemeClr>
                </a:solidFill>
                <a:latin typeface="Corbel" panose="020B0503020204020204" pitchFamily="34" charset="0"/>
              </a:rPr>
              <a:t>Департамент стратегического развития </a:t>
            </a:r>
          </a:p>
          <a:p>
            <a:endParaRPr lang="ru-RU" sz="975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E335722-D0E8-4786-B0E5-B9A9816B50BB}"/>
              </a:ext>
            </a:extLst>
          </p:cNvPr>
          <p:cNvSpPr txBox="1">
            <a:spLocks/>
          </p:cNvSpPr>
          <p:nvPr userDrawn="1"/>
        </p:nvSpPr>
        <p:spPr>
          <a:xfrm>
            <a:off x="7346157" y="6268429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3D99BC-1EA5-46D3-9E2F-A3CBFD63F0A1}" type="slidenum">
              <a:rPr lang="ru-RU" sz="975" smtClean="0"/>
              <a:pPr/>
              <a:t>‹#›</a:t>
            </a:fld>
            <a:endParaRPr lang="ru-RU" sz="975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C130AE4-0A59-4235-BF0C-9E753E1396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93" y="6356353"/>
            <a:ext cx="651773" cy="232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416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000000"/>
          </p15:clr>
        </p15:guide>
        <p15:guide id="2" pos="190">
          <p15:clr>
            <a:srgbClr val="000000"/>
          </p15:clr>
        </p15:guide>
        <p15:guide id="3" pos="6050">
          <p15:clr>
            <a:srgbClr val="000000"/>
          </p15:clr>
        </p15:guide>
        <p15:guide id="4" orient="horz" pos="3861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101C832-6FAC-40A0-BBA3-94F0E463DC45}"/>
              </a:ext>
            </a:extLst>
          </p:cNvPr>
          <p:cNvSpPr>
            <a:spLocks noChangeAspect="1"/>
          </p:cNvSpPr>
          <p:nvPr userDrawn="1"/>
        </p:nvSpPr>
        <p:spPr>
          <a:xfrm>
            <a:off x="811262" y="1470479"/>
            <a:ext cx="5159383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5809" y="1759937"/>
            <a:ext cx="4684860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363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809" y="4752153"/>
            <a:ext cx="4684860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3756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8C22B7E-730E-4FA3-AEBD-0EC53A300157}"/>
              </a:ext>
            </a:extLst>
          </p:cNvPr>
          <p:cNvSpPr>
            <a:spLocks noChangeAspect="1"/>
          </p:cNvSpPr>
          <p:nvPr userDrawn="1"/>
        </p:nvSpPr>
        <p:spPr>
          <a:xfrm>
            <a:off x="811262" y="1470479"/>
            <a:ext cx="2481122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BDBF24D-4D2F-42A4-AD1C-43B70FC5B5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5808" y="1759937"/>
            <a:ext cx="2020904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363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C8AEEAC-DFBC-44E5-A1A3-F209B8C054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809" y="4752153"/>
            <a:ext cx="2020904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F0DAB2D-E302-48A2-9568-49B2734ACB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958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FDEB4B6-682E-4009-89BC-CB154E8DC002}"/>
              </a:ext>
            </a:extLst>
          </p:cNvPr>
          <p:cNvSpPr>
            <a:spLocks noChangeAspect="1"/>
          </p:cNvSpPr>
          <p:nvPr userDrawn="1"/>
        </p:nvSpPr>
        <p:spPr>
          <a:xfrm>
            <a:off x="2767145" y="371312"/>
            <a:ext cx="6332704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BABE048-BB93-46AF-B21F-692455B275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83647" y="4710484"/>
            <a:ext cx="589926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9">
            <a:extLst>
              <a:ext uri="{FF2B5EF4-FFF2-40B4-BE49-F238E27FC236}">
                <a16:creationId xmlns:a16="http://schemas.microsoft.com/office/drawing/2014/main" id="{9B4976CB-3107-403A-8E4C-49D73E552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2788" y="636808"/>
            <a:ext cx="5899269" cy="3950972"/>
          </a:xfrm>
        </p:spPr>
        <p:txBody>
          <a:bodyPr/>
          <a:lstStyle>
            <a:lvl1pPr>
              <a:defRPr lang="en-GB" sz="536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slide text only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F974C88-37FD-486C-A053-2B6EC15FFE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910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0E2D7F6-77EE-4A84-A347-E3DE3770F560}"/>
              </a:ext>
            </a:extLst>
          </p:cNvPr>
          <p:cNvGrpSpPr/>
          <p:nvPr userDrawn="1"/>
        </p:nvGrpSpPr>
        <p:grpSpPr>
          <a:xfrm>
            <a:off x="811262" y="0"/>
            <a:ext cx="740512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A38D1D5C-300B-4EC8-97CB-72C6B7A7CC7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 dirty="0"/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D721161A-007B-4922-864A-502861C248B2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 dirty="0"/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23EB2905-098A-41C5-AB65-063729C54D07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33C2314-88FE-4413-B812-D2D4A2998E51}"/>
              </a:ext>
            </a:extLst>
          </p:cNvPr>
          <p:cNvSpPr>
            <a:spLocks noChangeAspect="1"/>
          </p:cNvSpPr>
          <p:nvPr userDrawn="1"/>
        </p:nvSpPr>
        <p:spPr>
          <a:xfrm>
            <a:off x="6041578" y="371312"/>
            <a:ext cx="3058270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C91CE7F-7855-470E-A1C6-7B98C9783C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8080" y="4710484"/>
            <a:ext cx="2623977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33FD179-5843-4777-B4EF-2C33EA1427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58080" y="636808"/>
            <a:ext cx="2623977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363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78F7078-5FAB-4923-B594-5A3AB65111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874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F7AF648-E8C1-435F-A91F-1FCE26666A3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11263" y="1468381"/>
            <a:ext cx="4781606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81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9E02FE-A18D-433A-B7C5-66327044D5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09399" y="1468381"/>
            <a:ext cx="2885339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363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4255FB05-4B59-458B-8EFD-8DCE3678F3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214510" y="1129528"/>
            <a:ext cx="740512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2" name="Freeform 19">
            <a:extLst>
              <a:ext uri="{FF2B5EF4-FFF2-40B4-BE49-F238E27FC236}">
                <a16:creationId xmlns:a16="http://schemas.microsoft.com/office/drawing/2014/main" id="{64C954ED-B10B-4AF2-833F-37E615D3439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214510" y="1872150"/>
            <a:ext cx="740512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BD4AB80-538F-43A3-8C4D-16CCBDE87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14510" y="4746353"/>
            <a:ext cx="28853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C1EA9FA-4164-4EF7-8EA1-6A4010273A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3469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2506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3022F2F-B43A-41C4-BF6C-3739462B739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11262" y="371311"/>
            <a:ext cx="3028690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813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E69996B-9D51-47AF-8239-CB068E0662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60552" y="1453784"/>
            <a:ext cx="430781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363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AE26B475-B5C4-4347-8C21-09E3E42E775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42470" y="614967"/>
            <a:ext cx="740512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0EC61BC-58E1-4775-ADB9-771F90B82F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60552" y="4953575"/>
            <a:ext cx="430781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C17CDB-6172-4525-81E9-4F0C8DBBA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61893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138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1504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9">
            <a:extLst>
              <a:ext uri="{FF2B5EF4-FFF2-40B4-BE49-F238E27FC236}">
                <a16:creationId xmlns:a16="http://schemas.microsoft.com/office/drawing/2014/main" id="{7C40611E-3A51-447C-B4D9-E63571518EA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1262" y="1129528"/>
            <a:ext cx="740512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477655F7-9771-42CD-A3FF-9B0E744CD3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1262" y="1872150"/>
            <a:ext cx="740512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00708127-E14A-4909-821A-61F581AA127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3994221" y="1456389"/>
            <a:ext cx="5105627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813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356C80A-82E6-41A1-8315-DBCCD3E863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1263" y="1456389"/>
            <a:ext cx="2579579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363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661CB1-3F0A-461E-B7EF-0DD8759D0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1263" y="5007010"/>
            <a:ext cx="257957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A13EE70-222E-4A80-9783-F68F00B7D3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91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529CB1A-1B72-48E4-9F89-031545C1FD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1264" y="1456389"/>
            <a:ext cx="4265195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363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068A8D8B-EF5A-4905-83FB-5B545573C07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1262" y="614967"/>
            <a:ext cx="740512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6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1A2E6BF4-8839-4971-8A92-E4187724BD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1262" y="1357589"/>
            <a:ext cx="740512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6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8A49F3C-B81B-486A-8AC6-0C685BBE02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1264" y="5007009"/>
            <a:ext cx="4265195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01A53E6-C071-4F04-8874-C1213CB3BE6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036036" y="371311"/>
            <a:ext cx="3058703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813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295ABE6-9B30-4315-B16F-C7442D3C71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375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0996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ACE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2661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9751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1200" y="1330126"/>
            <a:ext cx="82836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42444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1313" y="1700213"/>
            <a:ext cx="8288536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7259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1313" y="1700213"/>
            <a:ext cx="8288536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294084" indent="-147042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919669-F96A-4239-990D-B48E0AE68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166375" y="6295537"/>
            <a:ext cx="163624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  <a:endParaRPr lang="en-GB" sz="488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8D073B6C-A3F6-459D-BC13-DC57D78ED58C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97927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836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28291" y="6295537"/>
            <a:ext cx="1574329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1200" y="1330126"/>
            <a:ext cx="8288536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98B95CDD-2ABB-4477-9BBC-48463CC47FEF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0290101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1330126"/>
            <a:ext cx="40365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54400" y="1330126"/>
            <a:ext cx="40365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6677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3724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836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02492" y="6295537"/>
            <a:ext cx="160012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1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1200" y="1330126"/>
            <a:ext cx="40365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54400" y="1330126"/>
            <a:ext cx="4037211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26EE2363-59EE-4324-9D1D-5A7467133FB7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2808131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1330126"/>
            <a:ext cx="40365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5054400" y="1330126"/>
            <a:ext cx="40365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4390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1331360"/>
            <a:ext cx="82836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815100" y="3742126"/>
            <a:ext cx="82836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597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54400" y="1330126"/>
            <a:ext cx="40365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815100" y="1330126"/>
            <a:ext cx="40365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98779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3662381" y="3742126"/>
            <a:ext cx="25896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815100" y="3742126"/>
            <a:ext cx="25896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1331360"/>
            <a:ext cx="25896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509662" y="3742126"/>
            <a:ext cx="25896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662381" y="1331360"/>
            <a:ext cx="25896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509662" y="1331360"/>
            <a:ext cx="25896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5465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5100" y="3500438"/>
            <a:ext cx="1989000" cy="526683"/>
          </a:xfrm>
        </p:spPr>
        <p:txBody>
          <a:bodyPr>
            <a:spAutoFit/>
          </a:bodyPr>
          <a:lstStyle>
            <a:lvl1pPr>
              <a:defRPr sz="1950">
                <a:solidFill>
                  <a:schemeClr val="accent1"/>
                </a:solidFill>
                <a:latin typeface="+mj-lt"/>
              </a:defRPr>
            </a:lvl1pPr>
            <a:lvl2pPr>
              <a:defRPr sz="1056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910727" y="3500438"/>
            <a:ext cx="1989000" cy="526683"/>
          </a:xfrm>
        </p:spPr>
        <p:txBody>
          <a:bodyPr>
            <a:spAutoFit/>
          </a:bodyPr>
          <a:lstStyle>
            <a:lvl1pPr>
              <a:defRPr sz="1950">
                <a:latin typeface="+mj-lt"/>
              </a:defRPr>
            </a:lvl1pPr>
            <a:lvl2pPr>
              <a:defRPr sz="1056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6272" y="3500438"/>
            <a:ext cx="1989000" cy="526683"/>
          </a:xfrm>
        </p:spPr>
        <p:txBody>
          <a:bodyPr>
            <a:spAutoFit/>
          </a:bodyPr>
          <a:lstStyle>
            <a:lvl1pPr>
              <a:defRPr sz="1950">
                <a:solidFill>
                  <a:schemeClr val="accent4"/>
                </a:solidFill>
                <a:latin typeface="+mj-lt"/>
              </a:defRPr>
            </a:lvl1pPr>
            <a:lvl2pPr>
              <a:defRPr sz="1056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D499DA-AB3A-42FA-AEC3-59074A9B14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181" y="1330324"/>
            <a:ext cx="1989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0087E5F-B6BA-4B21-AEE1-13ECBDE2B7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910727" y="1330324"/>
            <a:ext cx="1989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87444CB-F6F1-40E7-BD1A-43812BC02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006272" y="1330324"/>
            <a:ext cx="1989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BF16C7DF-AAFB-48BF-9719-BEDB49FA0EA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01819" y="1330324"/>
            <a:ext cx="1989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E82B65-4225-4835-9D11-414E80A480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01819" y="3500438"/>
            <a:ext cx="1989000" cy="526683"/>
          </a:xfrm>
        </p:spPr>
        <p:txBody>
          <a:bodyPr>
            <a:spAutoFit/>
          </a:bodyPr>
          <a:lstStyle>
            <a:lvl1pPr>
              <a:defRPr sz="1950">
                <a:solidFill>
                  <a:schemeClr val="accent5"/>
                </a:solidFill>
                <a:latin typeface="+mj-lt"/>
              </a:defRPr>
            </a:lvl1pPr>
            <a:lvl2pPr>
              <a:defRPr sz="1056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24AF4F7-6286-4F12-8CC6-9D3D2C2EA2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22087" y="1330325"/>
            <a:ext cx="482095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300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429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88"/>
              </a:spcAft>
              <a:buFontTx/>
              <a:buNone/>
            </a:pPr>
            <a:r>
              <a:rPr lang="en-US" dirty="0"/>
              <a:t>01</a:t>
            </a:r>
            <a:endParaRPr lang="en-GB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1AAB6E-94B2-4E91-9CEB-50E84434F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8732" y="4343401"/>
            <a:ext cx="1989000" cy="1533525"/>
          </a:xfrm>
        </p:spPr>
        <p:txBody>
          <a:bodyPr/>
          <a:lstStyle>
            <a:lvl2pPr>
              <a:defRPr sz="1056"/>
            </a:lvl2pPr>
          </a:lstStyle>
          <a:p>
            <a:pPr lvl="1"/>
            <a:r>
              <a:rPr lang="en-US" dirty="0"/>
              <a:t>Text Placehold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41DA198-669A-415B-9D0E-89D5BDCB8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10727" y="4343401"/>
            <a:ext cx="1989000" cy="1533525"/>
          </a:xfrm>
        </p:spPr>
        <p:txBody>
          <a:bodyPr/>
          <a:lstStyle>
            <a:lvl2pPr>
              <a:defRPr sz="1056"/>
            </a:lvl2pPr>
          </a:lstStyle>
          <a:p>
            <a:pPr lvl="1"/>
            <a:r>
              <a:rPr lang="en-US" dirty="0"/>
              <a:t>Text Placehold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DC5114C-C3D2-49E7-A38D-466F95B5A2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06272" y="4343401"/>
            <a:ext cx="1989000" cy="1533525"/>
          </a:xfrm>
        </p:spPr>
        <p:txBody>
          <a:bodyPr/>
          <a:lstStyle>
            <a:lvl2pPr>
              <a:defRPr sz="1056"/>
            </a:lvl2pPr>
          </a:lstStyle>
          <a:p>
            <a:pPr lvl="1"/>
            <a:r>
              <a:rPr lang="en-US" dirty="0"/>
              <a:t>Text Placehold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468C94C-268F-4547-8993-7B47FB365E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01819" y="4343401"/>
            <a:ext cx="1989000" cy="1533525"/>
          </a:xfrm>
        </p:spPr>
        <p:txBody>
          <a:bodyPr/>
          <a:lstStyle>
            <a:lvl2pPr>
              <a:defRPr sz="1056"/>
            </a:lvl2pPr>
          </a:lstStyle>
          <a:p>
            <a:pPr lvl="1"/>
            <a:r>
              <a:rPr lang="en-US" dirty="0"/>
              <a:t>Text Placeholder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CA373DA8-5766-4E27-AB6B-2D49F7E784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17632" y="1330325"/>
            <a:ext cx="482095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300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429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88"/>
              </a:spcAft>
              <a:buFontTx/>
              <a:buNone/>
            </a:pPr>
            <a:r>
              <a:rPr lang="en-US" dirty="0"/>
              <a:t>02</a:t>
            </a:r>
            <a:endParaRPr lang="en-GB" dirty="0"/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72EC7370-28C3-4DEF-9936-6044EC44F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13177" y="1330325"/>
            <a:ext cx="482095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300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429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88"/>
              </a:spcAft>
              <a:buFontTx/>
              <a:buNone/>
            </a:pPr>
            <a:r>
              <a:rPr lang="en-US" dirty="0"/>
              <a:t>03</a:t>
            </a:r>
            <a:endParaRPr lang="en-GB" dirty="0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A9841A3-E975-4AA0-932D-99A38F3619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08724" y="1330325"/>
            <a:ext cx="482095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300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429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88"/>
              </a:spcAft>
              <a:buFontTx/>
              <a:buNone/>
            </a:pPr>
            <a:r>
              <a:rPr lang="en-US" dirty="0"/>
              <a:t>0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53953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1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49354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17199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85044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15100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493550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171999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850449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7528899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52889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9770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5101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354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199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5044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100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3550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1999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0449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28899" y="1331913"/>
            <a:ext cx="1572320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28899" y="1936713"/>
            <a:ext cx="1404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17327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9906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algn="l"/>
            <a:endParaRPr lang="en-US" sz="1219" dirty="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2009775"/>
            <a:ext cx="129887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10486" y="2009775"/>
            <a:ext cx="129887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05871" y="2009775"/>
            <a:ext cx="129887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01256" y="2009775"/>
            <a:ext cx="129887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792027" y="2009775"/>
            <a:ext cx="129887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641" y="2009775"/>
            <a:ext cx="129887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38"/>
            </a:lvl1pPr>
            <a:lvl2pPr algn="l">
              <a:defRPr sz="1138"/>
            </a:lvl2pPr>
            <a:lvl3pPr algn="l">
              <a:defRPr sz="1138"/>
            </a:lvl3pPr>
            <a:lvl4pPr algn="l">
              <a:defRPr sz="1138"/>
            </a:lvl4pPr>
            <a:lvl5pPr algn="l"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732" y="1330326"/>
            <a:ext cx="8275638" cy="43935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910436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19942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24784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29627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15100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919942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24785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129628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48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82205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5100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19942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24784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29627" y="1936714"/>
            <a:ext cx="178425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100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19942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4785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29628" y="1331913"/>
            <a:ext cx="1970221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5489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5219" y="1330325"/>
            <a:ext cx="4036244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219">
                <a:latin typeface="+mn-lt"/>
              </a:defRPr>
            </a:lvl1pPr>
            <a:lvl2pPr>
              <a:defRPr sz="1219">
                <a:latin typeface="+mn-lt"/>
              </a:defRPr>
            </a:lvl2pPr>
            <a:lvl3pPr>
              <a:defRPr sz="1219">
                <a:latin typeface="+mn-lt"/>
              </a:defRPr>
            </a:lvl3pPr>
            <a:lvl4pPr>
              <a:defRPr sz="1219">
                <a:latin typeface="+mn-lt"/>
              </a:defRPr>
            </a:lvl4pPr>
            <a:lvl5pPr>
              <a:defRPr sz="1219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054539" y="1330325"/>
            <a:ext cx="4038713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219">
                <a:latin typeface="+mn-lt"/>
              </a:defRPr>
            </a:lvl1pPr>
            <a:lvl2pPr>
              <a:defRPr sz="1219">
                <a:latin typeface="+mn-lt"/>
              </a:defRPr>
            </a:lvl2pPr>
            <a:lvl3pPr>
              <a:defRPr sz="1219">
                <a:latin typeface="+mn-lt"/>
              </a:defRPr>
            </a:lvl3pPr>
            <a:lvl4pPr>
              <a:defRPr sz="1219">
                <a:latin typeface="+mn-lt"/>
              </a:defRPr>
            </a:lvl4pPr>
            <a:lvl5pPr>
              <a:defRPr sz="1219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5219" y="3747502"/>
            <a:ext cx="4036244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219">
                <a:latin typeface="+mn-lt"/>
              </a:defRPr>
            </a:lvl1pPr>
            <a:lvl2pPr>
              <a:defRPr sz="1219">
                <a:latin typeface="+mn-lt"/>
              </a:defRPr>
            </a:lvl2pPr>
            <a:lvl3pPr>
              <a:defRPr sz="1219">
                <a:latin typeface="+mn-lt"/>
              </a:defRPr>
            </a:lvl3pPr>
            <a:lvl4pPr>
              <a:defRPr sz="1219">
                <a:latin typeface="+mn-lt"/>
              </a:defRPr>
            </a:lvl4pPr>
            <a:lvl5pPr>
              <a:defRPr sz="1219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054539" y="3747502"/>
            <a:ext cx="4038713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219">
                <a:latin typeface="+mn-lt"/>
              </a:defRPr>
            </a:lvl1pPr>
            <a:lvl2pPr>
              <a:defRPr sz="1219">
                <a:latin typeface="+mn-lt"/>
              </a:defRPr>
            </a:lvl2pPr>
            <a:lvl3pPr>
              <a:defRPr sz="1219">
                <a:latin typeface="+mn-lt"/>
              </a:defRPr>
            </a:lvl3pPr>
            <a:lvl4pPr>
              <a:defRPr sz="1219">
                <a:latin typeface="+mn-lt"/>
              </a:defRPr>
            </a:lvl4pPr>
            <a:lvl5pPr>
              <a:defRPr sz="1219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3714081" y="2546022"/>
            <a:ext cx="2477840" cy="21183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138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86547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100" y="1720713"/>
            <a:ext cx="40365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15100" y="1331913"/>
            <a:ext cx="40365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054400" y="1720713"/>
            <a:ext cx="40365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54400" y="1331913"/>
            <a:ext cx="40365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33371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100" y="1720715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15100" y="1331913"/>
            <a:ext cx="40365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054400" y="1720715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54400" y="1331913"/>
            <a:ext cx="40365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815100" y="4130721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15100" y="3741920"/>
            <a:ext cx="40365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5054400" y="4130721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5054400" y="3741920"/>
            <a:ext cx="40365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3754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13A210-92DD-4299-9F1D-B2FE60EC31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33445" y="6295537"/>
            <a:ext cx="15691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5100" y="1720715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100" y="1331913"/>
            <a:ext cx="40365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54400" y="1720715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4400" y="1331913"/>
            <a:ext cx="40365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5100" y="4130721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5100" y="3741920"/>
            <a:ext cx="40365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54400" y="4130721"/>
            <a:ext cx="40365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219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54400" y="3741920"/>
            <a:ext cx="40365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219">
                <a:solidFill>
                  <a:schemeClr val="bg1"/>
                </a:solidFill>
              </a:defRPr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A75E6CC5-8B44-4F43-ACAA-428A4ADCE45D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807186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>
            <a:extLst>
              <a:ext uri="{FF2B5EF4-FFF2-40B4-BE49-F238E27FC236}">
                <a16:creationId xmlns:a16="http://schemas.microsoft.com/office/drawing/2014/main" id="{D4053A23-C888-48C0-872F-07B86DD7F863}"/>
              </a:ext>
            </a:extLst>
          </p:cNvPr>
          <p:cNvSpPr>
            <a:spLocks noChangeAspect="1"/>
          </p:cNvSpPr>
          <p:nvPr userDrawn="1"/>
        </p:nvSpPr>
        <p:spPr>
          <a:xfrm>
            <a:off x="808733" y="981076"/>
            <a:ext cx="5737702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811262" y="971551"/>
            <a:ext cx="5737702" cy="4905375"/>
          </a:xfrm>
          <a:prstGeom prst="rect">
            <a:avLst/>
          </a:prstGeom>
          <a:gradFill>
            <a:gsLst>
              <a:gs pos="99000">
                <a:srgbClr val="0B4369"/>
              </a:gs>
              <a:gs pos="0">
                <a:srgbClr val="2E75B6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8011" y="2398602"/>
            <a:ext cx="4267575" cy="2367199"/>
          </a:xfrm>
          <a:noFill/>
        </p:spPr>
        <p:txBody>
          <a:bodyPr lIns="0" tIns="0" rIns="0" bIns="0" anchor="t" anchorCtr="0"/>
          <a:lstStyle>
            <a:lvl1pPr algn="l">
              <a:defRPr sz="65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48011" y="5140139"/>
            <a:ext cx="4267575" cy="414344"/>
          </a:xfrm>
        </p:spPr>
        <p:txBody>
          <a:bodyPr wrap="square" anchor="b">
            <a:spAutoFit/>
          </a:bodyPr>
          <a:lstStyle>
            <a:lvl1pPr>
              <a:defRPr sz="1138">
                <a:solidFill>
                  <a:schemeClr val="bg1"/>
                </a:solidFill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8012" y="1140069"/>
            <a:ext cx="879673" cy="67678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5363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0882517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811262" y="971551"/>
            <a:ext cx="5737702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8011" y="5140139"/>
            <a:ext cx="4267575" cy="414344"/>
          </a:xfrm>
        </p:spPr>
        <p:txBody>
          <a:bodyPr wrap="square" anchor="b">
            <a:spAutoFit/>
          </a:bodyPr>
          <a:lstStyle>
            <a:lvl1pPr>
              <a:defRPr sz="1138">
                <a:solidFill>
                  <a:schemeClr val="accent2"/>
                </a:solidFill>
              </a:defRPr>
            </a:lvl1pPr>
            <a:lvl2pPr>
              <a:defRPr sz="1138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8012" y="1140069"/>
            <a:ext cx="879673" cy="67678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5363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8011" y="2398602"/>
            <a:ext cx="4267575" cy="2367199"/>
          </a:xfrm>
          <a:noFill/>
        </p:spPr>
        <p:txBody>
          <a:bodyPr lIns="0" tIns="0" rIns="0" bIns="0" anchor="t" anchorCtr="0"/>
          <a:lstStyle>
            <a:lvl1pPr algn="l">
              <a:defRPr sz="6500" baseline="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3899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811262" y="971551"/>
            <a:ext cx="5737702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46250" tIns="146250" rIns="146250" bIns="14625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15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8011" y="2398602"/>
            <a:ext cx="4267575" cy="2367199"/>
          </a:xfrm>
          <a:noFill/>
        </p:spPr>
        <p:txBody>
          <a:bodyPr lIns="0" tIns="0" rIns="0" bIns="0" anchor="t" anchorCtr="0"/>
          <a:lstStyle>
            <a:lvl1pPr algn="l">
              <a:defRPr sz="6500" baseline="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8011" y="5140139"/>
            <a:ext cx="4267575" cy="414344"/>
          </a:xfrm>
        </p:spPr>
        <p:txBody>
          <a:bodyPr wrap="square" anchor="b">
            <a:spAutoFit/>
          </a:bodyPr>
          <a:lstStyle>
            <a:lvl1pPr>
              <a:defRPr sz="1138">
                <a:solidFill>
                  <a:schemeClr val="accent2"/>
                </a:solidFill>
              </a:defRPr>
            </a:lvl1pPr>
            <a:lvl2pPr>
              <a:defRPr sz="1138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8012" y="1140069"/>
            <a:ext cx="879673" cy="67678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5363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0119670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803776" y="5750096"/>
            <a:ext cx="1740861" cy="1124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31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731" b="1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3572" y="3702050"/>
            <a:ext cx="5411250" cy="1843088"/>
          </a:xfrm>
        </p:spPr>
        <p:txBody>
          <a:bodyPr anchor="b"/>
          <a:lstStyle>
            <a:lvl1pPr>
              <a:spcAft>
                <a:spcPts val="813"/>
              </a:spcAft>
              <a:defRPr sz="731" b="0">
                <a:solidFill>
                  <a:schemeClr val="bg1"/>
                </a:solidFill>
              </a:defRPr>
            </a:lvl1pPr>
            <a:lvl2pPr>
              <a:spcAft>
                <a:spcPts val="813"/>
              </a:spcAft>
              <a:defRPr sz="731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3572" y="3351965"/>
            <a:ext cx="1959537" cy="119064"/>
          </a:xfrm>
        </p:spPr>
        <p:txBody>
          <a:bodyPr/>
          <a:lstStyle>
            <a:lvl1pPr>
              <a:buFontTx/>
              <a:buNone/>
              <a:defRPr sz="975" b="1">
                <a:solidFill>
                  <a:schemeClr val="bg1"/>
                </a:solidFill>
              </a:defRPr>
            </a:lvl1pPr>
            <a:lvl2pPr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3pPr>
            <a:lvl4pPr marL="280800" indent="0"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4pPr>
            <a:lvl5pPr marL="438750" indent="0"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811262" y="2881530"/>
            <a:ext cx="164385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D7CE8814-2E6C-49B9-A2A8-80AB288D9A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7249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803776" y="5750096"/>
            <a:ext cx="1740861" cy="1124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31" b="1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731" b="1" kern="1200" noProof="0" dirty="0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3572" y="3702050"/>
            <a:ext cx="5411250" cy="1843088"/>
          </a:xfrm>
        </p:spPr>
        <p:txBody>
          <a:bodyPr anchor="b"/>
          <a:lstStyle>
            <a:lvl1pPr>
              <a:spcAft>
                <a:spcPts val="813"/>
              </a:spcAft>
              <a:defRPr sz="731" b="0">
                <a:solidFill>
                  <a:schemeClr val="accent2"/>
                </a:solidFill>
              </a:defRPr>
            </a:lvl1pPr>
            <a:lvl2pPr>
              <a:spcAft>
                <a:spcPts val="813"/>
              </a:spcAft>
              <a:defRPr sz="731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3572" y="3351965"/>
            <a:ext cx="1959537" cy="119064"/>
          </a:xfrm>
        </p:spPr>
        <p:txBody>
          <a:bodyPr/>
          <a:lstStyle>
            <a:lvl1pPr>
              <a:buFontTx/>
              <a:buNone/>
              <a:defRPr sz="975" b="1">
                <a:solidFill>
                  <a:schemeClr val="accent2"/>
                </a:solidFill>
              </a:defRPr>
            </a:lvl1pPr>
            <a:lvl2pPr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3pPr>
            <a:lvl4pPr marL="280800" indent="0"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4pPr>
            <a:lvl5pPr marL="438750" indent="0">
              <a:buFontTx/>
              <a:buNone/>
              <a:defRPr sz="731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811262" y="2881530"/>
            <a:ext cx="164385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219" dirty="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316E0CBF-F67B-4988-A694-3CA5B79E65D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1262" y="371311"/>
            <a:ext cx="74295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40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17119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811160" y="2246534"/>
            <a:ext cx="682186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811160" y="1731972"/>
            <a:ext cx="682186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811160" y="2761095"/>
            <a:ext cx="682186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811160" y="3275657"/>
            <a:ext cx="682186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799404" y="1330326"/>
            <a:ext cx="1108287" cy="1250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488"/>
              </a:spcAft>
            </a:pPr>
            <a:r>
              <a:rPr lang="en-US" sz="813" b="1" dirty="0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561367" y="2852903"/>
            <a:ext cx="1018871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Spectrum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561367" y="1830789"/>
            <a:ext cx="1018871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561367" y="3363960"/>
            <a:ext cx="1018871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Light Blu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6B15E2D-58A0-4506-8A15-E27C173174FA}"/>
              </a:ext>
            </a:extLst>
          </p:cNvPr>
          <p:cNvGrpSpPr/>
          <p:nvPr userDrawn="1"/>
        </p:nvGrpSpPr>
        <p:grpSpPr>
          <a:xfrm>
            <a:off x="2437210" y="1731972"/>
            <a:ext cx="1769077" cy="411225"/>
            <a:chOff x="2992848" y="1717717"/>
            <a:chExt cx="2177326" cy="41122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2309040-9C95-48FE-AA99-4757E8328519}"/>
                </a:ext>
              </a:extLst>
            </p:cNvPr>
            <p:cNvSpPr/>
            <p:nvPr userDrawn="1"/>
          </p:nvSpPr>
          <p:spPr>
            <a:xfrm>
              <a:off x="2992848" y="1717717"/>
              <a:ext cx="839614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A430D78-5EDB-481E-BB6D-67D8689BCE11}"/>
                </a:ext>
              </a:extLst>
            </p:cNvPr>
            <p:cNvSpPr txBox="1"/>
            <p:nvPr userDrawn="1"/>
          </p:nvSpPr>
          <p:spPr>
            <a:xfrm>
              <a:off x="3916179" y="1802518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Blue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561367" y="2341846"/>
            <a:ext cx="1018871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Cobalt Blu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56161F-C4E7-4F32-B00D-D64EBA9D34CA}"/>
              </a:ext>
            </a:extLst>
          </p:cNvPr>
          <p:cNvGrpSpPr/>
          <p:nvPr userDrawn="1"/>
        </p:nvGrpSpPr>
        <p:grpSpPr>
          <a:xfrm>
            <a:off x="811160" y="3783825"/>
            <a:ext cx="1769077" cy="1433953"/>
            <a:chOff x="998351" y="4298384"/>
            <a:chExt cx="2177326" cy="143395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53D312-00EF-44B5-9D91-290BE0E19654}"/>
                </a:ext>
              </a:extLst>
            </p:cNvPr>
            <p:cNvSpPr/>
            <p:nvPr userDrawn="1"/>
          </p:nvSpPr>
          <p:spPr>
            <a:xfrm>
              <a:off x="998351" y="4298384"/>
              <a:ext cx="839614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8D98991-520C-4FD6-8B23-8732995E56B1}"/>
                </a:ext>
              </a:extLst>
            </p:cNvPr>
            <p:cNvSpPr/>
            <p:nvPr userDrawn="1"/>
          </p:nvSpPr>
          <p:spPr>
            <a:xfrm>
              <a:off x="998351" y="4812944"/>
              <a:ext cx="839614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A38B4C-5B80-413E-B283-1F1ADBFD09CD}"/>
                </a:ext>
              </a:extLst>
            </p:cNvPr>
            <p:cNvSpPr/>
            <p:nvPr userDrawn="1"/>
          </p:nvSpPr>
          <p:spPr>
            <a:xfrm>
              <a:off x="998351" y="5321112"/>
              <a:ext cx="839614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B01B4DF-404A-4544-B313-2720FCBDD0B4}"/>
                </a:ext>
              </a:extLst>
            </p:cNvPr>
            <p:cNvSpPr txBox="1"/>
            <p:nvPr userDrawn="1"/>
          </p:nvSpPr>
          <p:spPr>
            <a:xfrm>
              <a:off x="1921682" y="4386074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Pacific Blu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6DFA940-4699-43CF-A21A-AE4227704697}"/>
                </a:ext>
              </a:extLst>
            </p:cNvPr>
            <p:cNvSpPr txBox="1"/>
            <p:nvPr userDrawn="1"/>
          </p:nvSpPr>
          <p:spPr>
            <a:xfrm>
              <a:off x="1921682" y="489713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Purpl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A40265-6498-4E16-877D-6BC9A8CE7DCA}"/>
                </a:ext>
              </a:extLst>
            </p:cNvPr>
            <p:cNvSpPr txBox="1"/>
            <p:nvPr userDrawn="1"/>
          </p:nvSpPr>
          <p:spPr>
            <a:xfrm>
              <a:off x="1921682" y="540819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Pink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431689" y="1330326"/>
            <a:ext cx="1581408" cy="2501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488"/>
              </a:spcAft>
            </a:pPr>
            <a:r>
              <a:rPr lang="en-US" sz="813" b="1" dirty="0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437210" y="2240140"/>
            <a:ext cx="682186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437210" y="2754702"/>
            <a:ext cx="682186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437210" y="3269262"/>
            <a:ext cx="682186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437210" y="3783824"/>
            <a:ext cx="682186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437210" y="4298385"/>
            <a:ext cx="682186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437210" y="4806553"/>
            <a:ext cx="682186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437210" y="5321113"/>
            <a:ext cx="682186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650" dirty="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650" dirty="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226776" y="2338957"/>
            <a:ext cx="1018871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88"/>
                </a:spcAft>
              </a:pPr>
              <a:r>
                <a:rPr lang="en-GB" sz="813" dirty="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4251168" y="1731972"/>
            <a:ext cx="682186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4251168" y="2246534"/>
            <a:ext cx="682186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650" dirty="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4245647" y="1330326"/>
            <a:ext cx="1255499" cy="2501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488"/>
              </a:spcAft>
            </a:pPr>
            <a:r>
              <a:rPr lang="en-US" sz="813" b="1" dirty="0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4251168" y="2761095"/>
            <a:ext cx="682186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4251168" y="3275657"/>
            <a:ext cx="682186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650" dirty="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4251168" y="3790217"/>
            <a:ext cx="682186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650" dirty="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650" dirty="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5040734" y="2852903"/>
            <a:ext cx="58051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5040734" y="1830789"/>
            <a:ext cx="58051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5040734" y="3363960"/>
            <a:ext cx="58051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5040734" y="3875017"/>
            <a:ext cx="58051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5040734" y="2341846"/>
            <a:ext cx="58051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5826020" y="2670084"/>
            <a:ext cx="682186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endParaRPr lang="en-GB" sz="650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7450688" y="2670084"/>
            <a:ext cx="682186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endParaRPr lang="en-GB" sz="650" dirty="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6522986" y="2757773"/>
            <a:ext cx="127434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Purple/</a:t>
            </a:r>
            <a:br>
              <a:rPr lang="en-GB" sz="813" dirty="0"/>
            </a:br>
            <a:r>
              <a:rPr lang="en-GB" sz="813" dirty="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8206417" y="2869887"/>
            <a:ext cx="138864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Pacific/</a:t>
            </a:r>
            <a:br>
              <a:rPr lang="en-GB" sz="813" dirty="0"/>
            </a:br>
            <a:r>
              <a:rPr lang="en-GB" sz="813" dirty="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5806575" y="1298952"/>
            <a:ext cx="3288225" cy="10039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4"/>
              </a:spcAft>
            </a:pPr>
            <a:r>
              <a:rPr lang="en-US" sz="813" b="1" dirty="0">
                <a:solidFill>
                  <a:sysClr val="windowText" lastClr="000000"/>
                </a:solidFill>
              </a:rPr>
              <a:t>Gradients</a:t>
            </a:r>
          </a:p>
          <a:p>
            <a:pPr marL="139303" indent="-139303" algn="l">
              <a:spcAft>
                <a:spcPts val="244"/>
              </a:spcAft>
              <a:buFont typeface="Arial" panose="020B0604020202020204" pitchFamily="34" charset="0"/>
              <a:buChar char="•"/>
            </a:pPr>
            <a:r>
              <a:rPr lang="en-GB" sz="813" b="0" dirty="0">
                <a:solidFill>
                  <a:sysClr val="windowText" lastClr="000000"/>
                </a:solidFill>
              </a:rPr>
              <a:t>The </a:t>
            </a:r>
            <a:r>
              <a:rPr lang="en-GB" sz="813" b="0" dirty="0" err="1">
                <a:solidFill>
                  <a:sysClr val="windowText" lastClr="000000"/>
                </a:solidFill>
              </a:rPr>
              <a:t>colors</a:t>
            </a:r>
            <a:r>
              <a:rPr lang="en-GB" sz="813" b="0" dirty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39303" indent="-139303" algn="l">
              <a:spcAft>
                <a:spcPts val="244"/>
              </a:spcAft>
              <a:buFont typeface="Arial" panose="020B0604020202020204" pitchFamily="34" charset="0"/>
              <a:buChar char="•"/>
            </a:pPr>
            <a:r>
              <a:rPr lang="en-GB" sz="813" b="0" dirty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39303" indent="-139303" algn="l">
              <a:spcAft>
                <a:spcPts val="244"/>
              </a:spcAft>
              <a:buFont typeface="Arial" panose="020B0604020202020204" pitchFamily="34" charset="0"/>
              <a:buChar char="•"/>
            </a:pPr>
            <a:r>
              <a:rPr lang="en-GB" sz="813" b="0" dirty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39303" indent="-139303" algn="l">
              <a:spcAft>
                <a:spcPts val="244"/>
              </a:spcAft>
              <a:buFont typeface="Arial" panose="020B0604020202020204" pitchFamily="34" charset="0"/>
              <a:buChar char="•"/>
            </a:pPr>
            <a:r>
              <a:rPr lang="en-GB" sz="813" b="0" dirty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39303" indent="-139303" algn="l">
              <a:spcAft>
                <a:spcPts val="244"/>
              </a:spcAft>
              <a:buFont typeface="Arial" panose="020B0604020202020204" pitchFamily="34" charset="0"/>
              <a:buChar char="•"/>
            </a:pPr>
            <a:r>
              <a:rPr lang="en-GB" sz="813" b="0" dirty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813" b="0" dirty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>
            <a:spLocks/>
          </p:cNvSpPr>
          <p:nvPr userDrawn="1"/>
        </p:nvSpPr>
        <p:spPr>
          <a:xfrm>
            <a:off x="4245647" y="4304595"/>
            <a:ext cx="682186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650" dirty="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650" dirty="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5035213" y="4389395"/>
            <a:ext cx="580512" cy="237066"/>
          </a:xfrm>
          <a:prstGeom prst="rect">
            <a:avLst/>
          </a:prstGeom>
          <a:noFill/>
        </p:spPr>
        <p:txBody>
          <a:bodyPr wrap="square" lIns="44371" tIns="44371" rIns="44371" bIns="44371" rtlCol="0" anchor="ctr">
            <a:noAutofit/>
          </a:bodyPr>
          <a:lstStyle/>
          <a:p>
            <a:pPr algn="l">
              <a:spcAft>
                <a:spcPts val="488"/>
              </a:spcAft>
            </a:pPr>
            <a:r>
              <a:rPr lang="en-GB" sz="813" dirty="0"/>
              <a:t>Whi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47E9F40-D028-425F-96B1-C73C59C9C8EF}"/>
              </a:ext>
            </a:extLst>
          </p:cNvPr>
          <p:cNvSpPr txBox="1"/>
          <p:nvPr userDrawn="1"/>
        </p:nvSpPr>
        <p:spPr>
          <a:xfrm>
            <a:off x="5806575" y="3336981"/>
            <a:ext cx="97031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488"/>
              </a:spcAft>
            </a:pPr>
            <a:r>
              <a:rPr lang="en-US" sz="813" b="1" dirty="0">
                <a:solidFill>
                  <a:sysClr val="windowText" lastClr="000000"/>
                </a:solidFill>
              </a:rPr>
              <a:t>Traffic Light Palette</a:t>
            </a:r>
            <a:endParaRPr lang="en-US" sz="813" b="0" dirty="0">
              <a:solidFill>
                <a:sysClr val="windowText" lastClr="000000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E77BBC-829E-4B5B-9C1B-B9C1344A811F}"/>
              </a:ext>
            </a:extLst>
          </p:cNvPr>
          <p:cNvSpPr>
            <a:spLocks/>
          </p:cNvSpPr>
          <p:nvPr userDrawn="1"/>
        </p:nvSpPr>
        <p:spPr>
          <a:xfrm>
            <a:off x="7599943" y="3589582"/>
            <a:ext cx="682186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6053ADE-6CEF-4806-8C0F-B8BEED546A81}"/>
              </a:ext>
            </a:extLst>
          </p:cNvPr>
          <p:cNvSpPr>
            <a:spLocks/>
          </p:cNvSpPr>
          <p:nvPr userDrawn="1"/>
        </p:nvSpPr>
        <p:spPr>
          <a:xfrm>
            <a:off x="6712982" y="3589582"/>
            <a:ext cx="682186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FEC18AD-6921-4293-966A-F31741528B23}"/>
              </a:ext>
            </a:extLst>
          </p:cNvPr>
          <p:cNvSpPr>
            <a:spLocks/>
          </p:cNvSpPr>
          <p:nvPr userDrawn="1"/>
        </p:nvSpPr>
        <p:spPr>
          <a:xfrm>
            <a:off x="5826020" y="3589582"/>
            <a:ext cx="682186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371" tIns="44371" rIns="44371" bIns="44371" rtlCol="0" anchor="ctr"/>
          <a:lstStyle/>
          <a:p>
            <a:pPr algn="ctr"/>
            <a:r>
              <a:rPr lang="en-GB" sz="650" dirty="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650" dirty="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D3C657F-FD1E-40E0-B00F-F92EC3693861}"/>
              </a:ext>
            </a:extLst>
          </p:cNvPr>
          <p:cNvSpPr txBox="1"/>
          <p:nvPr userDrawn="1"/>
        </p:nvSpPr>
        <p:spPr>
          <a:xfrm>
            <a:off x="5806574" y="4285685"/>
            <a:ext cx="3379693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488"/>
              </a:spcAft>
            </a:pPr>
            <a:r>
              <a:rPr lang="en-US" sz="813" b="1" dirty="0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39303" indent="-139303" algn="l">
              <a:spcAft>
                <a:spcPts val="244"/>
              </a:spcAft>
              <a:buFont typeface="Arial" panose="020B0604020202020204" pitchFamily="34" charset="0"/>
              <a:buChar char="•"/>
            </a:pPr>
            <a:r>
              <a:rPr lang="en-US" sz="813" b="0" dirty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39303" indent="-139303" algn="l">
              <a:spcAft>
                <a:spcPts val="244"/>
              </a:spcAft>
              <a:buFont typeface="Arial" panose="020B0604020202020204" pitchFamily="34" charset="0"/>
              <a:buChar char="•"/>
            </a:pPr>
            <a:r>
              <a:rPr lang="en-US" sz="813" b="0" dirty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87E5F4-3A2B-41F8-A4AA-BA7FFC573394}"/>
              </a:ext>
            </a:extLst>
          </p:cNvPr>
          <p:cNvCxnSpPr/>
          <p:nvPr userDrawn="1"/>
        </p:nvCxnSpPr>
        <p:spPr>
          <a:xfrm>
            <a:off x="5826020" y="3242602"/>
            <a:ext cx="326878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639F51-9F8C-4D36-8737-7A3DAC84F1DA}"/>
              </a:ext>
            </a:extLst>
          </p:cNvPr>
          <p:cNvCxnSpPr/>
          <p:nvPr userDrawn="1"/>
        </p:nvCxnSpPr>
        <p:spPr>
          <a:xfrm>
            <a:off x="5826020" y="4176642"/>
            <a:ext cx="326878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8890E6-18C7-479B-B73B-0C731D264307}"/>
              </a:ext>
            </a:extLst>
          </p:cNvPr>
          <p:cNvGrpSpPr/>
          <p:nvPr userDrawn="1"/>
        </p:nvGrpSpPr>
        <p:grpSpPr>
          <a:xfrm>
            <a:off x="5826020" y="5015319"/>
            <a:ext cx="3268780" cy="868052"/>
            <a:chOff x="6942744" y="5227726"/>
            <a:chExt cx="6397168" cy="1380293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642345-2D6B-4C6E-A9F2-A02D26D51DDD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4B75BE9-8F9E-40F1-AE85-B929BD14E4F6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03512C6-1015-4893-B421-D2CA83BB28B7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DF8AA28-67A9-4A84-A80F-52EFDEF62EC4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ECD3EF-C613-49EC-B955-C33743E8DAF2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FF0E69-1303-4A97-A554-2617DBE38F85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2E2F76-F5F9-4152-8B76-200BB23CF93D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F294A2C6-DAFC-45CD-86AD-3902D99F3B8E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318800B-9E93-4883-840B-696F82170F32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650" dirty="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14443132-A6B3-4990-BA37-9E2D3DE1B105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C79AFB4-7A51-4309-99F1-4015E9137C5F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E4F02C0-8A76-4F89-8E59-9E7549909C2A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9198175-1C72-4E67-BB92-6595EEDA420A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B592D94-A7C3-4005-BCCE-3C53AAD9574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650" dirty="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95381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3 COLUMN CHART TEXT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00" y="432000"/>
            <a:ext cx="82758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0C6C1EC6-E117-4B69-89BE-088A74E79D72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17B002-334A-40EC-B121-E986C0119D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37FD2-012C-4200-949F-8DC016758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C7DA5C05-0E58-4053-BE8B-AFC82BE8C7B2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26884865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 COLUMN CHART TEXT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water, sky, outdoor, boat&#10;&#10;Description automatically generated">
            <a:extLst>
              <a:ext uri="{FF2B5EF4-FFF2-40B4-BE49-F238E27FC236}">
                <a16:creationId xmlns:a16="http://schemas.microsoft.com/office/drawing/2014/main" id="{984BEAEF-0602-4E86-A4A3-9F2906ED28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186" t="12387" b="13404"/>
          <a:stretch/>
        </p:blipFill>
        <p:spPr>
          <a:xfrm flipH="1">
            <a:off x="0" y="0"/>
            <a:ext cx="9906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A3593A-B431-4ADA-BE4C-21EA84735646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algn="l"/>
            <a:endParaRPr lang="en-GB" sz="1219" dirty="0" err="1">
              <a:solidFill>
                <a:schemeClr val="bg1"/>
              </a:solidFill>
            </a:endParaRPr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0C6C1EC6-E117-4B69-89BE-088A74E79D72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17B002-334A-40EC-B121-E986C0119D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37FD2-012C-4200-949F-8DC016758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B4073E-9A76-4497-A20D-140FBF74D8F4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Graphic 8">
            <a:extLst>
              <a:ext uri="{FF2B5EF4-FFF2-40B4-BE49-F238E27FC236}">
                <a16:creationId xmlns:a16="http://schemas.microsoft.com/office/drawing/2014/main" id="{ABB19345-2968-4E44-943F-3E97D8AA1983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38985345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231248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02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5102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101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3D2049BB-683A-4A35-8AF7-77C8C2E1E58F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E98585D4-16BC-4D7E-81C9-19696FECDF51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293D5B-4B72-4759-A20F-7EDA06B33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A4BE95-38D5-4D8D-B612-FC32121701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F4B3C5-EBC5-4BF2-A67E-F711B4822472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44461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02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5102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101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90B7A897-5A26-41CB-AEE5-250C628151A3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EB8B3C09-FAB2-429B-938C-E78504065962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9BF5FA-A218-4481-9952-70E809F83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537B35-1388-4BAF-9520-9BDE0CCA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8B9F63F-C8B5-4C95-9816-589FF270249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32762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1">
    <p:bg>
      <p:bgPr>
        <a:gradFill>
          <a:gsLst>
            <a:gs pos="0">
              <a:schemeClr val="accent4"/>
            </a:gs>
            <a:gs pos="100000">
              <a:srgbClr val="ACE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2F8830-4F74-4E7B-8634-A831C07B4D86}"/>
              </a:ext>
            </a:extLst>
          </p:cNvPr>
          <p:cNvSpPr/>
          <p:nvPr userDrawn="1"/>
        </p:nvSpPr>
        <p:spPr>
          <a:xfrm>
            <a:off x="816472" y="762000"/>
            <a:ext cx="5986164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lvl="0"/>
            <a:endParaRPr lang="en-GB" sz="1219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0377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0377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0376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095959D6-539D-4DBA-A407-486EBC7BD27A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DFC671-4434-4988-9BE6-E6E05C1E90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38A5EF-7113-4975-A890-492075EFAA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2598B6-5992-4ED7-A56F-E61779FCAAAD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raphic 8">
            <a:extLst>
              <a:ext uri="{FF2B5EF4-FFF2-40B4-BE49-F238E27FC236}">
                <a16:creationId xmlns:a16="http://schemas.microsoft.com/office/drawing/2014/main" id="{CAAB85AA-9E5A-4C61-B424-F7AF53548327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4818688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7483AC7-339F-48D4-9AB4-3046D5749CB9}"/>
              </a:ext>
            </a:extLst>
          </p:cNvPr>
          <p:cNvSpPr/>
          <p:nvPr userDrawn="1"/>
        </p:nvSpPr>
        <p:spPr>
          <a:xfrm>
            <a:off x="816472" y="762000"/>
            <a:ext cx="5986164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lvl="0"/>
            <a:endParaRPr lang="en-GB" sz="1219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0377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0377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0376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2" name="Shape 8">
            <a:extLst>
              <a:ext uri="{FF2B5EF4-FFF2-40B4-BE49-F238E27FC236}">
                <a16:creationId xmlns:a16="http://schemas.microsoft.com/office/drawing/2014/main" id="{15EB5FA9-D117-4324-A3D4-5F62C3F1B10A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D28B896E-27F6-49D5-8E14-861D71D86A49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64A7DC-07A4-43BD-BDC8-DCD851D6E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B90D9F-91A1-43F6-9146-83692170A3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D7D7CF2-0F24-42C5-950D-8831C090846B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hape 8">
            <a:extLst>
              <a:ext uri="{FF2B5EF4-FFF2-40B4-BE49-F238E27FC236}">
                <a16:creationId xmlns:a16="http://schemas.microsoft.com/office/drawing/2014/main" id="{FA7C57B7-3139-4227-860D-62744E80075C}"/>
              </a:ext>
            </a:extLst>
          </p:cNvPr>
          <p:cNvSpPr txBox="1">
            <a:spLocks/>
          </p:cNvSpPr>
          <p:nvPr userDrawn="1"/>
        </p:nvSpPr>
        <p:spPr>
          <a:xfrm>
            <a:off x="9017943" y="64193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66A7FB-075A-4AE6-86C7-092AFE2A5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7410157" y="64479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476F0CC-8F6E-44D5-8FBB-3E2FA1E03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655944" y="64193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84B0381-9719-4838-A466-2F6CF091D42B}"/>
              </a:ext>
            </a:extLst>
          </p:cNvPr>
          <p:cNvCxnSpPr/>
          <p:nvPr userDrawn="1"/>
        </p:nvCxnSpPr>
        <p:spPr>
          <a:xfrm>
            <a:off x="9003270" y="64193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828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358641B0-A64D-42AC-AB80-2B2DE3763A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2" t="3137" r="3345" b="294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02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5102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101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8E299F-36DD-488D-AE8F-7D4E68D09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8">
            <a:extLst>
              <a:ext uri="{FF2B5EF4-FFF2-40B4-BE49-F238E27FC236}">
                <a16:creationId xmlns:a16="http://schemas.microsoft.com/office/drawing/2014/main" id="{204D0D1F-8410-4751-9F17-82062CC4247F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0513322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AE64370-786B-4EB9-A918-4498A437E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7851" t="22847" b="23582"/>
          <a:stretch/>
        </p:blipFill>
        <p:spPr>
          <a:xfrm flipH="1"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788EE33-7A33-4169-88D0-D538A8D5A207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84956">
                <a:schemeClr val="bg1">
                  <a:alpha val="0"/>
                </a:schemeClr>
              </a:gs>
              <a:gs pos="36000">
                <a:schemeClr val="bg1">
                  <a:alpha val="83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algn="l"/>
            <a:endParaRPr lang="en-GB" sz="1219" dirty="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02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5102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tx2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101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8E299F-36DD-488D-AE8F-7D4E68D09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raphic 8">
            <a:extLst>
              <a:ext uri="{FF2B5EF4-FFF2-40B4-BE49-F238E27FC236}">
                <a16:creationId xmlns:a16="http://schemas.microsoft.com/office/drawing/2014/main" id="{92C56E33-D809-4537-841C-C9A7A931650E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809379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81825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2B1EB00E-DCFB-4436-A4B2-99F40E7C1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2358" r="21307" b="22215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02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5102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tx2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101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8E299F-36DD-488D-AE8F-7D4E68D09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8">
            <a:extLst>
              <a:ext uri="{FF2B5EF4-FFF2-40B4-BE49-F238E27FC236}">
                <a16:creationId xmlns:a16="http://schemas.microsoft.com/office/drawing/2014/main" id="{E8ECA420-5DEB-497A-A9D0-9E0254063BF2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3792801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0CC9B0-8CF1-42D8-9E4B-C7BC505E3516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6985" t="14650" b="15031"/>
          <a:stretch/>
        </p:blipFill>
        <p:spPr>
          <a:xfrm flipH="1">
            <a:off x="0" y="-1"/>
            <a:ext cx="9906000" cy="68580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DABDAF5-AB7D-4EFC-9A3E-DFF370982194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algn="l"/>
            <a:endParaRPr lang="en-GB" sz="1219" dirty="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02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5102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tx2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101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8E299F-36DD-488D-AE8F-7D4E68D09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raphic 8">
            <a:extLst>
              <a:ext uri="{FF2B5EF4-FFF2-40B4-BE49-F238E27FC236}">
                <a16:creationId xmlns:a16="http://schemas.microsoft.com/office/drawing/2014/main" id="{60DCE228-0B63-4417-98F0-83184D798964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24397833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ater, sky, outdoor, boat&#10;&#10;Description automatically generated">
            <a:extLst>
              <a:ext uri="{FF2B5EF4-FFF2-40B4-BE49-F238E27FC236}">
                <a16:creationId xmlns:a16="http://schemas.microsoft.com/office/drawing/2014/main" id="{9D3C7FA3-61FC-4875-8279-D3B54C6723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186" t="12387" b="13404"/>
          <a:stretch/>
        </p:blipFill>
        <p:spPr>
          <a:xfrm flipH="1">
            <a:off x="0" y="0"/>
            <a:ext cx="9906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B132EE1-487A-4B69-95D1-CA1029F76CBC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algn="l"/>
            <a:endParaRPr lang="en-GB" sz="1219" dirty="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02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5102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tx2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101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8E299F-36DD-488D-AE8F-7D4E68D09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8">
            <a:extLst>
              <a:ext uri="{FF2B5EF4-FFF2-40B4-BE49-F238E27FC236}">
                <a16:creationId xmlns:a16="http://schemas.microsoft.com/office/drawing/2014/main" id="{762A669C-817B-4C79-8C20-37FC26CD72A9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8768428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2E220E8D-EC0F-46D1-9AD3-E5B6C0D7ED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" t="6140" r="18085" b="24749"/>
          <a:stretch/>
        </p:blipFill>
        <p:spPr>
          <a:xfrm>
            <a:off x="-488" y="2"/>
            <a:ext cx="9906975" cy="6857999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50A466FF-A8B6-4076-9B3C-A61811420CDC}"/>
              </a:ext>
            </a:extLst>
          </p:cNvPr>
          <p:cNvSpPr/>
          <p:nvPr userDrawn="1"/>
        </p:nvSpPr>
        <p:spPr>
          <a:xfrm>
            <a:off x="816472" y="762000"/>
            <a:ext cx="5986164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lvl="0"/>
            <a:endParaRPr lang="en-GB" sz="1219" err="1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C0CE533-6F84-4FEB-B1E0-A1C3F00499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0377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B38886-1C37-4B08-B1E0-DA70618C40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0377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21A76FD-610B-44D4-98B5-02EF8754CE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0376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5447C2C3-52D6-445B-9981-678811F40754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FADC0B2-7512-4C06-BA77-859DE60C9B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4B1AC7-79DA-4A59-B3A4-1B2B4DDEF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CB3BBB9-B843-4B92-97C7-CFC475524D94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raphic 8">
            <a:extLst>
              <a:ext uri="{FF2B5EF4-FFF2-40B4-BE49-F238E27FC236}">
                <a16:creationId xmlns:a16="http://schemas.microsoft.com/office/drawing/2014/main" id="{F214A413-5ED7-4238-BAC2-5747B3C6155B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9217637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05CA7AD-3724-4610-AD0B-806098ADE5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46"/>
          <a:stretch/>
        </p:blipFill>
        <p:spPr>
          <a:xfrm>
            <a:off x="0" y="1"/>
            <a:ext cx="9906000" cy="6856293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CCB7276-C5E7-41DA-B9EC-B2DC13E028BA}"/>
              </a:ext>
            </a:extLst>
          </p:cNvPr>
          <p:cNvSpPr/>
          <p:nvPr userDrawn="1"/>
        </p:nvSpPr>
        <p:spPr>
          <a:xfrm>
            <a:off x="816472" y="762000"/>
            <a:ext cx="5986164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lvl="0"/>
            <a:endParaRPr lang="en-GB" sz="1219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0377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0377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0376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2D9899-50D0-4473-891E-723654DCB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raphic 8">
            <a:extLst>
              <a:ext uri="{FF2B5EF4-FFF2-40B4-BE49-F238E27FC236}">
                <a16:creationId xmlns:a16="http://schemas.microsoft.com/office/drawing/2014/main" id="{59EC7046-C285-4ABB-93F1-38CE2192A966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32537827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A67C365C-B5DD-4C23-A880-ABB124CC8F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399" r="43268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9E78826E-402F-4B62-8514-20F9B6E3FD36}"/>
              </a:ext>
            </a:extLst>
          </p:cNvPr>
          <p:cNvSpPr/>
          <p:nvPr userDrawn="1"/>
        </p:nvSpPr>
        <p:spPr>
          <a:xfrm>
            <a:off x="816472" y="762000"/>
            <a:ext cx="5986164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lvl="0"/>
            <a:endParaRPr lang="en-GB" sz="1219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0377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0377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0376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2D9899-50D0-4473-891E-723654DCB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8">
            <a:extLst>
              <a:ext uri="{FF2B5EF4-FFF2-40B4-BE49-F238E27FC236}">
                <a16:creationId xmlns:a16="http://schemas.microsoft.com/office/drawing/2014/main" id="{C2489C67-E78E-4B16-B4DF-5420711D4DA4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8048407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E949F2-DC86-49D8-B7F6-F5E464D2B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9893" b="3805"/>
          <a:stretch/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C17DA15-2931-4E70-8695-C7A1F864DD54}"/>
              </a:ext>
            </a:extLst>
          </p:cNvPr>
          <p:cNvSpPr/>
          <p:nvPr userDrawn="1"/>
        </p:nvSpPr>
        <p:spPr>
          <a:xfrm>
            <a:off x="816472" y="762000"/>
            <a:ext cx="5986164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lvl="0"/>
            <a:endParaRPr lang="en-GB" sz="1219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0377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0377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0376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2D9899-50D0-4473-891E-723654DCB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raphic 8">
            <a:extLst>
              <a:ext uri="{FF2B5EF4-FFF2-40B4-BE49-F238E27FC236}">
                <a16:creationId xmlns:a16="http://schemas.microsoft.com/office/drawing/2014/main" id="{A99167FB-25DC-46D0-82A7-C680F31079A1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30190097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68FCEB1-3EF3-4E82-987D-4D27092A2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1907" r="25653" b="15362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9771AAE-1FFA-41EF-BCB5-199A62E0D87C}"/>
              </a:ext>
            </a:extLst>
          </p:cNvPr>
          <p:cNvSpPr/>
          <p:nvPr userDrawn="1"/>
        </p:nvSpPr>
        <p:spPr>
          <a:xfrm>
            <a:off x="816472" y="762000"/>
            <a:ext cx="5986164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lvl="0"/>
            <a:endParaRPr lang="en-GB" sz="1219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0377" y="2325832"/>
            <a:ext cx="5089464" cy="2300407"/>
          </a:xfrm>
        </p:spPr>
        <p:txBody>
          <a:bodyPr anchor="t" anchorCtr="0"/>
          <a:lstStyle>
            <a:lvl1pPr algn="l">
              <a:defRPr sz="715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0377" y="5233260"/>
            <a:ext cx="5089464" cy="216000"/>
          </a:xfrm>
        </p:spPr>
        <p:txBody>
          <a:bodyPr/>
          <a:lstStyle>
            <a:lvl1pPr>
              <a:defRPr sz="1300" b="0">
                <a:solidFill>
                  <a:schemeClr val="bg1"/>
                </a:solidFill>
              </a:defRPr>
            </a:lvl1pPr>
            <a:lvl2pPr>
              <a:defRPr sz="89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9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9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9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0376" y="1339850"/>
            <a:ext cx="711994" cy="690562"/>
          </a:xfrm>
        </p:spPr>
        <p:txBody>
          <a:bodyPr/>
          <a:lstStyle>
            <a:lvl1pPr>
              <a:lnSpc>
                <a:spcPct val="70000"/>
              </a:lnSpc>
              <a:defRPr sz="438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2D9899-50D0-4473-891E-723654DCB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8">
            <a:extLst>
              <a:ext uri="{FF2B5EF4-FFF2-40B4-BE49-F238E27FC236}">
                <a16:creationId xmlns:a16="http://schemas.microsoft.com/office/drawing/2014/main" id="{484397CC-5564-47D0-8F73-FC7BAB32972D}"/>
              </a:ext>
            </a:extLst>
          </p:cNvPr>
          <p:cNvSpPr/>
          <p:nvPr userDrawn="1"/>
        </p:nvSpPr>
        <p:spPr>
          <a:xfrm>
            <a:off x="815100" y="6266996"/>
            <a:ext cx="393926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297000147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SLIDE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05F7BB9-FEC6-4DA0-886C-53D86D0ED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" t="6140" r="18085" b="24749"/>
          <a:stretch/>
        </p:blipFill>
        <p:spPr>
          <a:xfrm>
            <a:off x="-488" y="2"/>
            <a:ext cx="9906975" cy="6857999"/>
          </a:xfrm>
          <a:prstGeom prst="rect">
            <a:avLst/>
          </a:prstGeom>
        </p:spPr>
      </p:pic>
      <p:sp>
        <p:nvSpPr>
          <p:cNvPr id="7" name="Shape 8">
            <a:extLst>
              <a:ext uri="{FF2B5EF4-FFF2-40B4-BE49-F238E27FC236}">
                <a16:creationId xmlns:a16="http://schemas.microsoft.com/office/drawing/2014/main" id="{B4404B1D-9111-4D04-B7E0-EA6D5A21378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FD2CAD-713A-4715-A8BB-3DE3371CC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94EDEABD-8A8D-4028-80AB-BF9B456F4E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9388A6-1544-44BE-AECE-D61EC0E79C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E6058E-23A2-4A5F-AA6F-0FC03750A137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6">
            <a:extLst>
              <a:ext uri="{FF2B5EF4-FFF2-40B4-BE49-F238E27FC236}">
                <a16:creationId xmlns:a16="http://schemas.microsoft.com/office/drawing/2014/main" id="{C1D9D641-6000-408F-B44C-177AC85E51D8}"/>
              </a:ext>
            </a:extLst>
          </p:cNvPr>
          <p:cNvSpPr/>
          <p:nvPr userDrawn="1"/>
        </p:nvSpPr>
        <p:spPr>
          <a:xfrm>
            <a:off x="1815883" y="1882444"/>
            <a:ext cx="6271272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rgbClr val="EAC8E1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7060929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SLIDE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4AF6AC-47B5-4889-A9DA-091E01DE5F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" t="38161" r="29443" b="3297"/>
          <a:stretch/>
        </p:blipFill>
        <p:spPr>
          <a:xfrm>
            <a:off x="0" y="1"/>
            <a:ext cx="9906000" cy="685629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B7C9E0A-9329-4B74-81B5-5A7A41C9A7C7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100000">
                <a:srgbClr val="7213EA">
                  <a:alpha val="61000"/>
                </a:srgbClr>
              </a:gs>
              <a:gs pos="0">
                <a:srgbClr val="B497FF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algn="l"/>
            <a:endParaRPr lang="en-GB" sz="1219" dirty="0" err="1">
              <a:solidFill>
                <a:schemeClr val="bg1"/>
              </a:solidFill>
            </a:endParaRPr>
          </a:p>
        </p:txBody>
      </p:sp>
      <p:sp>
        <p:nvSpPr>
          <p:cNvPr id="8" name="Shape 8">
            <a:extLst>
              <a:ext uri="{FF2B5EF4-FFF2-40B4-BE49-F238E27FC236}">
                <a16:creationId xmlns:a16="http://schemas.microsoft.com/office/drawing/2014/main" id="{218117A8-EF1A-493C-A287-EDFA583FB96D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52CB91-51E0-4F26-B119-3004E7A24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5C4D1F29-5589-485D-8D08-51CED5DD7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DFE754-53EC-4CE3-8C68-A0585386D4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771C50C-1A37-4DB9-8F3A-7B00281526E0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0276C03-A764-4163-B1D2-6E4AE24B3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6229" t="38609" r="9603" b="28759"/>
          <a:stretch/>
        </p:blipFill>
        <p:spPr>
          <a:xfrm>
            <a:off x="1815867" y="1882368"/>
            <a:ext cx="6271272" cy="3099991"/>
          </a:xfrm>
          <a:custGeom>
            <a:avLst/>
            <a:gdLst>
              <a:gd name="connsiteX0" fmla="*/ 6058533 w 7718489"/>
              <a:gd name="connsiteY0" fmla="*/ 2420175 h 3099991"/>
              <a:gd name="connsiteX1" fmla="*/ 6451222 w 7718489"/>
              <a:gd name="connsiteY1" fmla="*/ 2775917 h 3099991"/>
              <a:gd name="connsiteX2" fmla="*/ 6718997 w 7718489"/>
              <a:gd name="connsiteY2" fmla="*/ 2748296 h 3099991"/>
              <a:gd name="connsiteX3" fmla="*/ 6800455 w 7718489"/>
              <a:gd name="connsiteY3" fmla="*/ 2420175 h 3099991"/>
              <a:gd name="connsiteX4" fmla="*/ 5035465 w 7718489"/>
              <a:gd name="connsiteY4" fmla="*/ 1789620 h 3099991"/>
              <a:gd name="connsiteX5" fmla="*/ 4672157 w 7718489"/>
              <a:gd name="connsiteY5" fmla="*/ 2360005 h 3099991"/>
              <a:gd name="connsiteX6" fmla="*/ 4912310 w 7718489"/>
              <a:gd name="connsiteY6" fmla="*/ 2360005 h 3099991"/>
              <a:gd name="connsiteX7" fmla="*/ 3858453 w 7718489"/>
              <a:gd name="connsiteY7" fmla="*/ 1764813 h 3099991"/>
              <a:gd name="connsiteX8" fmla="*/ 3690962 w 7718489"/>
              <a:gd name="connsiteY8" fmla="*/ 2360005 h 3099991"/>
              <a:gd name="connsiteX9" fmla="*/ 3864435 w 7718489"/>
              <a:gd name="connsiteY9" fmla="*/ 2360005 h 3099991"/>
              <a:gd name="connsiteX10" fmla="*/ 2514654 w 7718489"/>
              <a:gd name="connsiteY10" fmla="*/ 1671568 h 3099991"/>
              <a:gd name="connsiteX11" fmla="*/ 2445687 w 7718489"/>
              <a:gd name="connsiteY11" fmla="*/ 1672623 h 3099991"/>
              <a:gd name="connsiteX12" fmla="*/ 2392026 w 7718489"/>
              <a:gd name="connsiteY12" fmla="*/ 1874949 h 3099991"/>
              <a:gd name="connsiteX13" fmla="*/ 2369859 w 7718489"/>
              <a:gd name="connsiteY13" fmla="*/ 1961686 h 3099991"/>
              <a:gd name="connsiteX14" fmla="*/ 2322884 w 7718489"/>
              <a:gd name="connsiteY14" fmla="*/ 2135863 h 3099991"/>
              <a:gd name="connsiteX15" fmla="*/ 2424575 w 7718489"/>
              <a:gd name="connsiteY15" fmla="*/ 2135863 h 3099991"/>
              <a:gd name="connsiteX16" fmla="*/ 2483161 w 7718489"/>
              <a:gd name="connsiteY16" fmla="*/ 2135863 h 3099991"/>
              <a:gd name="connsiteX17" fmla="*/ 2531895 w 7718489"/>
              <a:gd name="connsiteY17" fmla="*/ 2133575 h 3099991"/>
              <a:gd name="connsiteX18" fmla="*/ 2532423 w 7718489"/>
              <a:gd name="connsiteY18" fmla="*/ 2133575 h 3099991"/>
              <a:gd name="connsiteX19" fmla="*/ 2837145 w 7718489"/>
              <a:gd name="connsiteY19" fmla="*/ 1896765 h 3099991"/>
              <a:gd name="connsiteX20" fmla="*/ 2844358 w 7718489"/>
              <a:gd name="connsiteY20" fmla="*/ 1722589 h 3099991"/>
              <a:gd name="connsiteX21" fmla="*/ 2593473 w 7718489"/>
              <a:gd name="connsiteY21" fmla="*/ 1671568 h 3099991"/>
              <a:gd name="connsiteX22" fmla="*/ 4208566 w 7718489"/>
              <a:gd name="connsiteY22" fmla="*/ 61049 h 3099991"/>
              <a:gd name="connsiteX23" fmla="*/ 4208566 w 7718489"/>
              <a:gd name="connsiteY23" fmla="*/ 2360885 h 3099991"/>
              <a:gd name="connsiteX24" fmla="*/ 4252198 w 7718489"/>
              <a:gd name="connsiteY24" fmla="*/ 2360885 h 3099991"/>
              <a:gd name="connsiteX25" fmla="*/ 4854779 w 7718489"/>
              <a:gd name="connsiteY25" fmla="*/ 1410830 h 3099991"/>
              <a:gd name="connsiteX26" fmla="*/ 5528086 w 7718489"/>
              <a:gd name="connsiteY26" fmla="*/ 1410830 h 3099991"/>
              <a:gd name="connsiteX27" fmla="*/ 5329102 w 7718489"/>
              <a:gd name="connsiteY27" fmla="*/ 2360005 h 3099991"/>
              <a:gd name="connsiteX28" fmla="*/ 5563097 w 7718489"/>
              <a:gd name="connsiteY28" fmla="*/ 2360005 h 3099991"/>
              <a:gd name="connsiteX29" fmla="*/ 5588256 w 7718489"/>
              <a:gd name="connsiteY29" fmla="*/ 2220488 h 3099991"/>
              <a:gd name="connsiteX30" fmla="*/ 5800435 w 7718489"/>
              <a:gd name="connsiteY30" fmla="*/ 1764813 h 3099991"/>
              <a:gd name="connsiteX31" fmla="*/ 5801491 w 7718489"/>
              <a:gd name="connsiteY31" fmla="*/ 1435285 h 3099991"/>
              <a:gd name="connsiteX32" fmla="*/ 5800787 w 7718489"/>
              <a:gd name="connsiteY32" fmla="*/ 61049 h 3099991"/>
              <a:gd name="connsiteX33" fmla="*/ 2354376 w 7718489"/>
              <a:gd name="connsiteY33" fmla="*/ 61049 h 3099991"/>
              <a:gd name="connsiteX34" fmla="*/ 2354376 w 7718489"/>
              <a:gd name="connsiteY34" fmla="*/ 1408015 h 3099991"/>
              <a:gd name="connsiteX35" fmla="*/ 2671061 w 7718489"/>
              <a:gd name="connsiteY35" fmla="*/ 1408015 h 3099991"/>
              <a:gd name="connsiteX36" fmla="*/ 3184442 w 7718489"/>
              <a:gd name="connsiteY36" fmla="*/ 1525364 h 3099991"/>
              <a:gd name="connsiteX37" fmla="*/ 3238279 w 7718489"/>
              <a:gd name="connsiteY37" fmla="*/ 1902571 h 3099991"/>
              <a:gd name="connsiteX38" fmla="*/ 2851219 w 7718489"/>
              <a:gd name="connsiteY38" fmla="*/ 2360005 h 3099991"/>
              <a:gd name="connsiteX39" fmla="*/ 3273466 w 7718489"/>
              <a:gd name="connsiteY39" fmla="*/ 2360005 h 3099991"/>
              <a:gd name="connsiteX40" fmla="*/ 3546695 w 7718489"/>
              <a:gd name="connsiteY40" fmla="*/ 1408543 h 3099991"/>
              <a:gd name="connsiteX41" fmla="*/ 3944662 w 7718489"/>
              <a:gd name="connsiteY41" fmla="*/ 1408543 h 3099991"/>
              <a:gd name="connsiteX42" fmla="*/ 3944662 w 7718489"/>
              <a:gd name="connsiteY42" fmla="*/ 61049 h 3099991"/>
              <a:gd name="connsiteX43" fmla="*/ 498603 w 7718489"/>
              <a:gd name="connsiteY43" fmla="*/ 61049 h 3099991"/>
              <a:gd name="connsiteX44" fmla="*/ 498603 w 7718489"/>
              <a:gd name="connsiteY44" fmla="*/ 1410830 h 3099991"/>
              <a:gd name="connsiteX45" fmla="*/ 881440 w 7718489"/>
              <a:gd name="connsiteY45" fmla="*/ 1410830 h 3099991"/>
              <a:gd name="connsiteX46" fmla="*/ 676826 w 7718489"/>
              <a:gd name="connsiteY46" fmla="*/ 2091351 h 3099991"/>
              <a:gd name="connsiteX47" fmla="*/ 1308612 w 7718489"/>
              <a:gd name="connsiteY47" fmla="*/ 1412062 h 3099991"/>
              <a:gd name="connsiteX48" fmla="*/ 1827624 w 7718489"/>
              <a:gd name="connsiteY48" fmla="*/ 1412062 h 3099991"/>
              <a:gd name="connsiteX49" fmla="*/ 1019725 w 7718489"/>
              <a:gd name="connsiteY49" fmla="*/ 2237729 h 3099991"/>
              <a:gd name="connsiteX50" fmla="*/ 1078312 w 7718489"/>
              <a:gd name="connsiteY50" fmla="*/ 2360885 h 3099991"/>
              <a:gd name="connsiteX51" fmla="*/ 1827624 w 7718489"/>
              <a:gd name="connsiteY51" fmla="*/ 2360885 h 3099991"/>
              <a:gd name="connsiteX52" fmla="*/ 1836596 w 7718489"/>
              <a:gd name="connsiteY52" fmla="*/ 2333966 h 3099991"/>
              <a:gd name="connsiteX53" fmla="*/ 2064434 w 7718489"/>
              <a:gd name="connsiteY53" fmla="*/ 1575506 h 3099991"/>
              <a:gd name="connsiteX54" fmla="*/ 2089416 w 7718489"/>
              <a:gd name="connsiteY54" fmla="*/ 1492992 h 3099991"/>
              <a:gd name="connsiteX55" fmla="*/ 2089416 w 7718489"/>
              <a:gd name="connsiteY55" fmla="*/ 61049 h 3099991"/>
              <a:gd name="connsiteX56" fmla="*/ 6065395 w 7718489"/>
              <a:gd name="connsiteY56" fmla="*/ 60698 h 3099991"/>
              <a:gd name="connsiteX57" fmla="*/ 6065395 w 7718489"/>
              <a:gd name="connsiteY57" fmla="*/ 1503372 h 3099991"/>
              <a:gd name="connsiteX58" fmla="*/ 6770898 w 7718489"/>
              <a:gd name="connsiteY58" fmla="*/ 1317056 h 3099991"/>
              <a:gd name="connsiteX59" fmla="*/ 7344274 w 7718489"/>
              <a:gd name="connsiteY59" fmla="*/ 1514632 h 3099991"/>
              <a:gd name="connsiteX60" fmla="*/ 7383859 w 7718489"/>
              <a:gd name="connsiteY60" fmla="*/ 1868792 h 3099991"/>
              <a:gd name="connsiteX61" fmla="*/ 6906017 w 7718489"/>
              <a:gd name="connsiteY61" fmla="*/ 1868792 h 3099991"/>
              <a:gd name="connsiteX62" fmla="*/ 6667272 w 7718489"/>
              <a:gd name="connsiteY62" fmla="*/ 1642186 h 3099991"/>
              <a:gd name="connsiteX63" fmla="*/ 6084044 w 7718489"/>
              <a:gd name="connsiteY63" fmla="*/ 2210811 h 3099991"/>
              <a:gd name="connsiteX64" fmla="*/ 6065395 w 7718489"/>
              <a:gd name="connsiteY64" fmla="*/ 2305465 h 3099991"/>
              <a:gd name="connsiteX65" fmla="*/ 6065395 w 7718489"/>
              <a:gd name="connsiteY65" fmla="*/ 2360005 h 3099991"/>
              <a:gd name="connsiteX66" fmla="*/ 6453685 w 7718489"/>
              <a:gd name="connsiteY66" fmla="*/ 2360005 h 3099991"/>
              <a:gd name="connsiteX67" fmla="*/ 6519837 w 7718489"/>
              <a:gd name="connsiteY67" fmla="*/ 2094693 h 3099991"/>
              <a:gd name="connsiteX68" fmla="*/ 7322633 w 7718489"/>
              <a:gd name="connsiteY68" fmla="*/ 2094693 h 3099991"/>
              <a:gd name="connsiteX69" fmla="*/ 7257009 w 7718489"/>
              <a:gd name="connsiteY69" fmla="*/ 2360005 h 3099991"/>
              <a:gd name="connsiteX70" fmla="*/ 7658671 w 7718489"/>
              <a:gd name="connsiteY70" fmla="*/ 2360005 h 3099991"/>
              <a:gd name="connsiteX71" fmla="*/ 7657967 w 7718489"/>
              <a:gd name="connsiteY71" fmla="*/ 60698 h 3099991"/>
              <a:gd name="connsiteX72" fmla="*/ 437201 w 7718489"/>
              <a:gd name="connsiteY72" fmla="*/ 0 h 3099991"/>
              <a:gd name="connsiteX73" fmla="*/ 2151170 w 7718489"/>
              <a:gd name="connsiteY73" fmla="*/ 0 h 3099991"/>
              <a:gd name="connsiteX74" fmla="*/ 2151170 w 7718489"/>
              <a:gd name="connsiteY74" fmla="*/ 1410830 h 3099991"/>
              <a:gd name="connsiteX75" fmla="*/ 2292974 w 7718489"/>
              <a:gd name="connsiteY75" fmla="*/ 1410830 h 3099991"/>
              <a:gd name="connsiteX76" fmla="*/ 2292974 w 7718489"/>
              <a:gd name="connsiteY76" fmla="*/ 0 h 3099991"/>
              <a:gd name="connsiteX77" fmla="*/ 4006767 w 7718489"/>
              <a:gd name="connsiteY77" fmla="*/ 0 h 3099991"/>
              <a:gd name="connsiteX78" fmla="*/ 4006767 w 7718489"/>
              <a:gd name="connsiteY78" fmla="*/ 1408543 h 3099991"/>
              <a:gd name="connsiteX79" fmla="*/ 4148748 w 7718489"/>
              <a:gd name="connsiteY79" fmla="*/ 1408543 h 3099991"/>
              <a:gd name="connsiteX80" fmla="*/ 4148748 w 7718489"/>
              <a:gd name="connsiteY80" fmla="*/ 0 h 3099991"/>
              <a:gd name="connsiteX81" fmla="*/ 5862013 w 7718489"/>
              <a:gd name="connsiteY81" fmla="*/ 0 h 3099991"/>
              <a:gd name="connsiteX82" fmla="*/ 5862013 w 7718489"/>
              <a:gd name="connsiteY82" fmla="*/ 1684411 h 3099991"/>
              <a:gd name="connsiteX83" fmla="*/ 6005048 w 7718489"/>
              <a:gd name="connsiteY83" fmla="*/ 1546829 h 3099991"/>
              <a:gd name="connsiteX84" fmla="*/ 6005048 w 7718489"/>
              <a:gd name="connsiteY84" fmla="*/ 0 h 3099991"/>
              <a:gd name="connsiteX85" fmla="*/ 7718489 w 7718489"/>
              <a:gd name="connsiteY85" fmla="*/ 0 h 3099991"/>
              <a:gd name="connsiteX86" fmla="*/ 7718489 w 7718489"/>
              <a:gd name="connsiteY86" fmla="*/ 2420175 h 3099991"/>
              <a:gd name="connsiteX87" fmla="*/ 7242406 w 7718489"/>
              <a:gd name="connsiteY87" fmla="*/ 2420175 h 3099991"/>
              <a:gd name="connsiteX88" fmla="*/ 7097963 w 7718489"/>
              <a:gd name="connsiteY88" fmla="*/ 3004810 h 3099991"/>
              <a:gd name="connsiteX89" fmla="*/ 6322965 w 7718489"/>
              <a:gd name="connsiteY89" fmla="*/ 3099991 h 3099991"/>
              <a:gd name="connsiteX90" fmla="*/ 5729357 w 7718489"/>
              <a:gd name="connsiteY90" fmla="*/ 2923000 h 3099991"/>
              <a:gd name="connsiteX91" fmla="*/ 5555532 w 7718489"/>
              <a:gd name="connsiteY91" fmla="*/ 2420175 h 3099991"/>
              <a:gd name="connsiteX92" fmla="*/ 5314324 w 7718489"/>
              <a:gd name="connsiteY92" fmla="*/ 2420175 h 3099991"/>
              <a:gd name="connsiteX93" fmla="*/ 5178853 w 7718489"/>
              <a:gd name="connsiteY93" fmla="*/ 3064101 h 3099991"/>
              <a:gd name="connsiteX94" fmla="*/ 4761709 w 7718489"/>
              <a:gd name="connsiteY94" fmla="*/ 3064101 h 3099991"/>
              <a:gd name="connsiteX95" fmla="*/ 4899466 w 7718489"/>
              <a:gd name="connsiteY95" fmla="*/ 2420175 h 3099991"/>
              <a:gd name="connsiteX96" fmla="*/ 4632396 w 7718489"/>
              <a:gd name="connsiteY96" fmla="*/ 2420175 h 3099991"/>
              <a:gd name="connsiteX97" fmla="*/ 4224576 w 7718489"/>
              <a:gd name="connsiteY97" fmla="*/ 3064101 h 3099991"/>
              <a:gd name="connsiteX98" fmla="*/ 3869009 w 7718489"/>
              <a:gd name="connsiteY98" fmla="*/ 3064101 h 3099991"/>
              <a:gd name="connsiteX99" fmla="*/ 3863907 w 7718489"/>
              <a:gd name="connsiteY99" fmla="*/ 2420175 h 3099991"/>
              <a:gd name="connsiteX100" fmla="*/ 3673193 w 7718489"/>
              <a:gd name="connsiteY100" fmla="*/ 2420175 h 3099991"/>
              <a:gd name="connsiteX101" fmla="*/ 3493562 w 7718489"/>
              <a:gd name="connsiteY101" fmla="*/ 3064101 h 3099991"/>
              <a:gd name="connsiteX102" fmla="*/ 3069732 w 7718489"/>
              <a:gd name="connsiteY102" fmla="*/ 3064101 h 3099991"/>
              <a:gd name="connsiteX103" fmla="*/ 3255345 w 7718489"/>
              <a:gd name="connsiteY103" fmla="*/ 2420175 h 3099991"/>
              <a:gd name="connsiteX104" fmla="*/ 2319717 w 7718489"/>
              <a:gd name="connsiteY104" fmla="*/ 2420175 h 3099991"/>
              <a:gd name="connsiteX105" fmla="*/ 2319717 w 7718489"/>
              <a:gd name="connsiteY105" fmla="*/ 2421934 h 3099991"/>
              <a:gd name="connsiteX106" fmla="*/ 2227350 w 7718489"/>
              <a:gd name="connsiteY106" fmla="*/ 2421934 h 3099991"/>
              <a:gd name="connsiteX107" fmla="*/ 2035228 w 7718489"/>
              <a:gd name="connsiteY107" fmla="*/ 3065860 h 3099991"/>
              <a:gd name="connsiteX108" fmla="*/ 1614917 w 7718489"/>
              <a:gd name="connsiteY108" fmla="*/ 3065860 h 3099991"/>
              <a:gd name="connsiteX109" fmla="*/ 1809678 w 7718489"/>
              <a:gd name="connsiteY109" fmla="*/ 2420175 h 3099991"/>
              <a:gd name="connsiteX110" fmla="*/ 1107517 w 7718489"/>
              <a:gd name="connsiteY110" fmla="*/ 2420175 h 3099991"/>
              <a:gd name="connsiteX111" fmla="*/ 1417165 w 7718489"/>
              <a:gd name="connsiteY111" fmla="*/ 3065860 h 3099991"/>
              <a:gd name="connsiteX112" fmla="*/ 952694 w 7718489"/>
              <a:gd name="connsiteY112" fmla="*/ 3065860 h 3099991"/>
              <a:gd name="connsiteX113" fmla="*/ 633722 w 7718489"/>
              <a:gd name="connsiteY113" fmla="*/ 2420175 h 3099991"/>
              <a:gd name="connsiteX114" fmla="*/ 578126 w 7718489"/>
              <a:gd name="connsiteY114" fmla="*/ 2420175 h 3099991"/>
              <a:gd name="connsiteX115" fmla="*/ 384596 w 7718489"/>
              <a:gd name="connsiteY115" fmla="*/ 3065860 h 3099991"/>
              <a:gd name="connsiteX116" fmla="*/ 0 w 7718489"/>
              <a:gd name="connsiteY116" fmla="*/ 3065860 h 3099991"/>
              <a:gd name="connsiteX117" fmla="*/ 437201 w 7718489"/>
              <a:gd name="connsiteY117" fmla="*/ 1607879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18489" h="3099991">
                <a:moveTo>
                  <a:pt x="6058533" y="2420175"/>
                </a:moveTo>
                <a:cubicBezTo>
                  <a:pt x="6061876" y="2669124"/>
                  <a:pt x="6221626" y="2775917"/>
                  <a:pt x="6451222" y="2775917"/>
                </a:cubicBezTo>
                <a:cubicBezTo>
                  <a:pt x="6541125" y="2774668"/>
                  <a:pt x="6630730" y="2765432"/>
                  <a:pt x="6718997" y="2748296"/>
                </a:cubicBezTo>
                <a:lnTo>
                  <a:pt x="6800455" y="2420175"/>
                </a:lnTo>
                <a:close/>
                <a:moveTo>
                  <a:pt x="5035465" y="1789620"/>
                </a:moveTo>
                <a:lnTo>
                  <a:pt x="4672157" y="2360005"/>
                </a:lnTo>
                <a:lnTo>
                  <a:pt x="4912310" y="2360005"/>
                </a:lnTo>
                <a:close/>
                <a:moveTo>
                  <a:pt x="3858453" y="1764813"/>
                </a:moveTo>
                <a:lnTo>
                  <a:pt x="3690962" y="2360005"/>
                </a:lnTo>
                <a:lnTo>
                  <a:pt x="3864435" y="2360005"/>
                </a:lnTo>
                <a:close/>
                <a:moveTo>
                  <a:pt x="2514654" y="1671568"/>
                </a:moveTo>
                <a:cubicBezTo>
                  <a:pt x="2492486" y="1671568"/>
                  <a:pt x="2469438" y="1672623"/>
                  <a:pt x="2445687" y="1672623"/>
                </a:cubicBezTo>
                <a:lnTo>
                  <a:pt x="2392026" y="1874949"/>
                </a:lnTo>
                <a:lnTo>
                  <a:pt x="2369859" y="1961686"/>
                </a:lnTo>
                <a:lnTo>
                  <a:pt x="2322884" y="2135863"/>
                </a:lnTo>
                <a:lnTo>
                  <a:pt x="2424575" y="2135863"/>
                </a:lnTo>
                <a:cubicBezTo>
                  <a:pt x="2441816" y="2135863"/>
                  <a:pt x="2459762" y="2135863"/>
                  <a:pt x="2483161" y="2135863"/>
                </a:cubicBezTo>
                <a:cubicBezTo>
                  <a:pt x="2500931" y="2135863"/>
                  <a:pt x="2516589" y="2133575"/>
                  <a:pt x="2531895" y="2133575"/>
                </a:cubicBezTo>
                <a:lnTo>
                  <a:pt x="2532423" y="2133575"/>
                </a:lnTo>
                <a:cubicBezTo>
                  <a:pt x="2728240" y="2118621"/>
                  <a:pt x="2788938" y="2043848"/>
                  <a:pt x="2837145" y="1896765"/>
                </a:cubicBezTo>
                <a:cubicBezTo>
                  <a:pt x="2865118" y="1811437"/>
                  <a:pt x="2867933" y="1755137"/>
                  <a:pt x="2844358" y="1722589"/>
                </a:cubicBezTo>
                <a:cubicBezTo>
                  <a:pt x="2813393" y="1679308"/>
                  <a:pt x="2728240" y="1671568"/>
                  <a:pt x="2593473" y="1671568"/>
                </a:cubicBezTo>
                <a:close/>
                <a:moveTo>
                  <a:pt x="4208566" y="61049"/>
                </a:moveTo>
                <a:lnTo>
                  <a:pt x="4208566" y="2360885"/>
                </a:lnTo>
                <a:lnTo>
                  <a:pt x="4252198" y="2360885"/>
                </a:lnTo>
                <a:lnTo>
                  <a:pt x="4854779" y="1410830"/>
                </a:lnTo>
                <a:lnTo>
                  <a:pt x="5528086" y="1410830"/>
                </a:lnTo>
                <a:lnTo>
                  <a:pt x="5329102" y="2360005"/>
                </a:lnTo>
                <a:lnTo>
                  <a:pt x="5563097" y="2360005"/>
                </a:lnTo>
                <a:cubicBezTo>
                  <a:pt x="5567865" y="2312924"/>
                  <a:pt x="5576275" y="2266266"/>
                  <a:pt x="5588256" y="2220488"/>
                </a:cubicBezTo>
                <a:cubicBezTo>
                  <a:pt x="5629319" y="2056480"/>
                  <a:pt x="5701348" y="1901815"/>
                  <a:pt x="5800435" y="1764813"/>
                </a:cubicBezTo>
                <a:lnTo>
                  <a:pt x="5801491" y="1435285"/>
                </a:lnTo>
                <a:lnTo>
                  <a:pt x="5800787" y="61049"/>
                </a:lnTo>
                <a:close/>
                <a:moveTo>
                  <a:pt x="2354376" y="61049"/>
                </a:moveTo>
                <a:lnTo>
                  <a:pt x="2354376" y="1408015"/>
                </a:lnTo>
                <a:lnTo>
                  <a:pt x="2671061" y="1408015"/>
                </a:lnTo>
                <a:cubicBezTo>
                  <a:pt x="2861952" y="1408015"/>
                  <a:pt x="3077121" y="1396931"/>
                  <a:pt x="3184442" y="1525364"/>
                </a:cubicBezTo>
                <a:cubicBezTo>
                  <a:pt x="3255872" y="1611749"/>
                  <a:pt x="3271706" y="1726635"/>
                  <a:pt x="3238279" y="1902571"/>
                </a:cubicBezTo>
                <a:cubicBezTo>
                  <a:pt x="3197286" y="2128297"/>
                  <a:pt x="3066389" y="2280306"/>
                  <a:pt x="2851219" y="2360005"/>
                </a:cubicBezTo>
                <a:lnTo>
                  <a:pt x="3273466" y="2360005"/>
                </a:lnTo>
                <a:lnTo>
                  <a:pt x="3546695" y="1408543"/>
                </a:lnTo>
                <a:lnTo>
                  <a:pt x="3944662" y="1408543"/>
                </a:lnTo>
                <a:lnTo>
                  <a:pt x="3944662" y="61049"/>
                </a:lnTo>
                <a:close/>
                <a:moveTo>
                  <a:pt x="498603" y="61049"/>
                </a:moveTo>
                <a:lnTo>
                  <a:pt x="498603" y="1410830"/>
                </a:lnTo>
                <a:lnTo>
                  <a:pt x="881440" y="1410830"/>
                </a:lnTo>
                <a:lnTo>
                  <a:pt x="676826" y="2091351"/>
                </a:lnTo>
                <a:lnTo>
                  <a:pt x="1308612" y="1412062"/>
                </a:lnTo>
                <a:lnTo>
                  <a:pt x="1827624" y="1412062"/>
                </a:lnTo>
                <a:lnTo>
                  <a:pt x="1019725" y="2237729"/>
                </a:lnTo>
                <a:lnTo>
                  <a:pt x="1078312" y="2360885"/>
                </a:lnTo>
                <a:lnTo>
                  <a:pt x="1827624" y="2360885"/>
                </a:lnTo>
                <a:lnTo>
                  <a:pt x="1836596" y="2333966"/>
                </a:lnTo>
                <a:lnTo>
                  <a:pt x="2064434" y="1575506"/>
                </a:lnTo>
                <a:lnTo>
                  <a:pt x="2089416" y="1492992"/>
                </a:lnTo>
                <a:lnTo>
                  <a:pt x="2089416" y="61049"/>
                </a:lnTo>
                <a:close/>
                <a:moveTo>
                  <a:pt x="6065395" y="60698"/>
                </a:moveTo>
                <a:lnTo>
                  <a:pt x="6065395" y="1503372"/>
                </a:lnTo>
                <a:cubicBezTo>
                  <a:pt x="6304668" y="1347317"/>
                  <a:pt x="6581591" y="1317056"/>
                  <a:pt x="6770898" y="1317056"/>
                </a:cubicBezTo>
                <a:cubicBezTo>
                  <a:pt x="7037265" y="1317056"/>
                  <a:pt x="7242406" y="1373884"/>
                  <a:pt x="7344274" y="1514632"/>
                </a:cubicBezTo>
                <a:cubicBezTo>
                  <a:pt x="7434353" y="1644649"/>
                  <a:pt x="7402860" y="1785926"/>
                  <a:pt x="7383859" y="1868792"/>
                </a:cubicBezTo>
                <a:lnTo>
                  <a:pt x="6906017" y="1868792"/>
                </a:lnTo>
                <a:cubicBezTo>
                  <a:pt x="6923434" y="1691096"/>
                  <a:pt x="6795705" y="1642186"/>
                  <a:pt x="6667272" y="1642186"/>
                </a:cubicBezTo>
                <a:cubicBezTo>
                  <a:pt x="6342669" y="1642186"/>
                  <a:pt x="6154418" y="1924739"/>
                  <a:pt x="6084044" y="2210811"/>
                </a:cubicBezTo>
                <a:cubicBezTo>
                  <a:pt x="6076479" y="2244239"/>
                  <a:pt x="6071376" y="2275556"/>
                  <a:pt x="6065395" y="2305465"/>
                </a:cubicBezTo>
                <a:lnTo>
                  <a:pt x="6065395" y="2360005"/>
                </a:lnTo>
                <a:lnTo>
                  <a:pt x="6453685" y="2360005"/>
                </a:lnTo>
                <a:lnTo>
                  <a:pt x="6519837" y="2094693"/>
                </a:lnTo>
                <a:lnTo>
                  <a:pt x="7322633" y="2094693"/>
                </a:lnTo>
                <a:lnTo>
                  <a:pt x="7257009" y="2360005"/>
                </a:lnTo>
                <a:lnTo>
                  <a:pt x="7658671" y="2360005"/>
                </a:lnTo>
                <a:lnTo>
                  <a:pt x="7657967" y="60698"/>
                </a:lnTo>
                <a:close/>
                <a:moveTo>
                  <a:pt x="437201" y="0"/>
                </a:moveTo>
                <a:lnTo>
                  <a:pt x="2151170" y="0"/>
                </a:lnTo>
                <a:lnTo>
                  <a:pt x="2151170" y="1410830"/>
                </a:lnTo>
                <a:lnTo>
                  <a:pt x="2292974" y="1410830"/>
                </a:lnTo>
                <a:lnTo>
                  <a:pt x="2292974" y="0"/>
                </a:lnTo>
                <a:lnTo>
                  <a:pt x="4006767" y="0"/>
                </a:lnTo>
                <a:lnTo>
                  <a:pt x="4006767" y="1408543"/>
                </a:lnTo>
                <a:lnTo>
                  <a:pt x="4148748" y="1408543"/>
                </a:lnTo>
                <a:lnTo>
                  <a:pt x="4148748" y="0"/>
                </a:lnTo>
                <a:lnTo>
                  <a:pt x="5862013" y="0"/>
                </a:lnTo>
                <a:lnTo>
                  <a:pt x="5862013" y="1684411"/>
                </a:lnTo>
                <a:cubicBezTo>
                  <a:pt x="5905345" y="1634234"/>
                  <a:pt x="5953218" y="1588174"/>
                  <a:pt x="6005048" y="1546829"/>
                </a:cubicBezTo>
                <a:lnTo>
                  <a:pt x="6005048" y="0"/>
                </a:lnTo>
                <a:lnTo>
                  <a:pt x="7718489" y="0"/>
                </a:lnTo>
                <a:lnTo>
                  <a:pt x="7718489" y="2420175"/>
                </a:lnTo>
                <a:lnTo>
                  <a:pt x="7242406" y="2420175"/>
                </a:lnTo>
                <a:lnTo>
                  <a:pt x="7097963" y="3004810"/>
                </a:lnTo>
                <a:cubicBezTo>
                  <a:pt x="6843929" y="3064980"/>
                  <a:pt x="6584019" y="3096913"/>
                  <a:pt x="6322965" y="3099991"/>
                </a:cubicBezTo>
                <a:cubicBezTo>
                  <a:pt x="6139112" y="3099991"/>
                  <a:pt x="5891218" y="3071490"/>
                  <a:pt x="5729357" y="2923000"/>
                </a:cubicBezTo>
                <a:cubicBezTo>
                  <a:pt x="5597053" y="2801076"/>
                  <a:pt x="5546031" y="2619686"/>
                  <a:pt x="5555532" y="2420175"/>
                </a:cubicBezTo>
                <a:lnTo>
                  <a:pt x="5314324" y="2420175"/>
                </a:lnTo>
                <a:lnTo>
                  <a:pt x="5178853" y="3064101"/>
                </a:lnTo>
                <a:lnTo>
                  <a:pt x="4761709" y="3064101"/>
                </a:lnTo>
                <a:lnTo>
                  <a:pt x="4899466" y="2420175"/>
                </a:lnTo>
                <a:lnTo>
                  <a:pt x="4632396" y="2420175"/>
                </a:lnTo>
                <a:lnTo>
                  <a:pt x="4224576" y="3064101"/>
                </a:lnTo>
                <a:lnTo>
                  <a:pt x="3869009" y="3064101"/>
                </a:lnTo>
                <a:lnTo>
                  <a:pt x="3863907" y="2420175"/>
                </a:lnTo>
                <a:lnTo>
                  <a:pt x="3673193" y="2420175"/>
                </a:lnTo>
                <a:lnTo>
                  <a:pt x="3493562" y="3064101"/>
                </a:lnTo>
                <a:lnTo>
                  <a:pt x="3069732" y="3064101"/>
                </a:lnTo>
                <a:lnTo>
                  <a:pt x="3255345" y="2420175"/>
                </a:lnTo>
                <a:lnTo>
                  <a:pt x="2319717" y="2420175"/>
                </a:lnTo>
                <a:lnTo>
                  <a:pt x="2319717" y="2421934"/>
                </a:lnTo>
                <a:lnTo>
                  <a:pt x="2227350" y="2421934"/>
                </a:lnTo>
                <a:lnTo>
                  <a:pt x="2035228" y="3065860"/>
                </a:lnTo>
                <a:lnTo>
                  <a:pt x="1614917" y="3065860"/>
                </a:lnTo>
                <a:lnTo>
                  <a:pt x="1809678" y="2420175"/>
                </a:lnTo>
                <a:lnTo>
                  <a:pt x="1107517" y="2420175"/>
                </a:lnTo>
                <a:lnTo>
                  <a:pt x="1417165" y="3065860"/>
                </a:lnTo>
                <a:lnTo>
                  <a:pt x="952694" y="3065860"/>
                </a:lnTo>
                <a:lnTo>
                  <a:pt x="633722" y="2420175"/>
                </a:lnTo>
                <a:lnTo>
                  <a:pt x="578126" y="2420175"/>
                </a:lnTo>
                <a:lnTo>
                  <a:pt x="384596" y="3065860"/>
                </a:lnTo>
                <a:lnTo>
                  <a:pt x="0" y="3065860"/>
                </a:lnTo>
                <a:lnTo>
                  <a:pt x="437201" y="160787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21412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03464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FINAL SLIDE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CB56A4-D08B-4353-9FB8-0DC3EE984A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85" t="1" r="25611" b="44121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8B69055-DC25-49C8-9B89-81E75E56ED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5" t="22610" r="9010" b="22550"/>
          <a:stretch>
            <a:fillRect/>
          </a:stretch>
        </p:blipFill>
        <p:spPr>
          <a:xfrm flipH="1">
            <a:off x="1818834" y="1882445"/>
            <a:ext cx="6264157" cy="3096473"/>
          </a:xfrm>
          <a:custGeom>
            <a:avLst/>
            <a:gdLst>
              <a:gd name="connsiteX0" fmla="*/ 1658073 w 7709732"/>
              <a:gd name="connsiteY0" fmla="*/ 2417428 h 3096473"/>
              <a:gd name="connsiteX1" fmla="*/ 1265829 w 7709732"/>
              <a:gd name="connsiteY1" fmla="*/ 2772767 h 3096473"/>
              <a:gd name="connsiteX2" fmla="*/ 998358 w 7709732"/>
              <a:gd name="connsiteY2" fmla="*/ 2745177 h 3096473"/>
              <a:gd name="connsiteX3" fmla="*/ 916992 w 7709732"/>
              <a:gd name="connsiteY3" fmla="*/ 2417428 h 3096473"/>
              <a:gd name="connsiteX4" fmla="*/ 2679980 w 7709732"/>
              <a:gd name="connsiteY4" fmla="*/ 1787589 h 3096473"/>
              <a:gd name="connsiteX5" fmla="*/ 3042876 w 7709732"/>
              <a:gd name="connsiteY5" fmla="*/ 2357327 h 3096473"/>
              <a:gd name="connsiteX6" fmla="*/ 2802996 w 7709732"/>
              <a:gd name="connsiteY6" fmla="*/ 2357327 h 3096473"/>
              <a:gd name="connsiteX7" fmla="*/ 3855657 w 7709732"/>
              <a:gd name="connsiteY7" fmla="*/ 1762811 h 3096473"/>
              <a:gd name="connsiteX8" fmla="*/ 4022958 w 7709732"/>
              <a:gd name="connsiteY8" fmla="*/ 2357327 h 3096473"/>
              <a:gd name="connsiteX9" fmla="*/ 3849682 w 7709732"/>
              <a:gd name="connsiteY9" fmla="*/ 2357327 h 3096473"/>
              <a:gd name="connsiteX10" fmla="*/ 5197931 w 7709732"/>
              <a:gd name="connsiteY10" fmla="*/ 1669671 h 3096473"/>
              <a:gd name="connsiteX11" fmla="*/ 5266820 w 7709732"/>
              <a:gd name="connsiteY11" fmla="*/ 1670725 h 3096473"/>
              <a:gd name="connsiteX12" fmla="*/ 5320420 w 7709732"/>
              <a:gd name="connsiteY12" fmla="*/ 1872822 h 3096473"/>
              <a:gd name="connsiteX13" fmla="*/ 5342562 w 7709732"/>
              <a:gd name="connsiteY13" fmla="*/ 1959460 h 3096473"/>
              <a:gd name="connsiteX14" fmla="*/ 5389484 w 7709732"/>
              <a:gd name="connsiteY14" fmla="*/ 2133439 h 3096473"/>
              <a:gd name="connsiteX15" fmla="*/ 5287908 w 7709732"/>
              <a:gd name="connsiteY15" fmla="*/ 2133439 h 3096473"/>
              <a:gd name="connsiteX16" fmla="*/ 5229388 w 7709732"/>
              <a:gd name="connsiteY16" fmla="*/ 2133439 h 3096473"/>
              <a:gd name="connsiteX17" fmla="*/ 5180709 w 7709732"/>
              <a:gd name="connsiteY17" fmla="*/ 2131154 h 3096473"/>
              <a:gd name="connsiteX18" fmla="*/ 5180182 w 7709732"/>
              <a:gd name="connsiteY18" fmla="*/ 2131154 h 3096473"/>
              <a:gd name="connsiteX19" fmla="*/ 4875806 w 7709732"/>
              <a:gd name="connsiteY19" fmla="*/ 1894613 h 3096473"/>
              <a:gd name="connsiteX20" fmla="*/ 4868601 w 7709732"/>
              <a:gd name="connsiteY20" fmla="*/ 1720634 h 3096473"/>
              <a:gd name="connsiteX21" fmla="*/ 5119201 w 7709732"/>
              <a:gd name="connsiteY21" fmla="*/ 1669671 h 3096473"/>
              <a:gd name="connsiteX22" fmla="*/ 3505941 w 7709732"/>
              <a:gd name="connsiteY22" fmla="*/ 60980 h 3096473"/>
              <a:gd name="connsiteX23" fmla="*/ 3505941 w 7709732"/>
              <a:gd name="connsiteY23" fmla="*/ 2358205 h 3096473"/>
              <a:gd name="connsiteX24" fmla="*/ 3462358 w 7709732"/>
              <a:gd name="connsiteY24" fmla="*/ 2358205 h 3096473"/>
              <a:gd name="connsiteX25" fmla="*/ 2860461 w 7709732"/>
              <a:gd name="connsiteY25" fmla="*/ 1409229 h 3096473"/>
              <a:gd name="connsiteX26" fmla="*/ 2187918 w 7709732"/>
              <a:gd name="connsiteY26" fmla="*/ 1409229 h 3096473"/>
              <a:gd name="connsiteX27" fmla="*/ 2386676 w 7709732"/>
              <a:gd name="connsiteY27" fmla="*/ 2357327 h 3096473"/>
              <a:gd name="connsiteX28" fmla="*/ 2152947 w 7709732"/>
              <a:gd name="connsiteY28" fmla="*/ 2357327 h 3096473"/>
              <a:gd name="connsiteX29" fmla="*/ 2127816 w 7709732"/>
              <a:gd name="connsiteY29" fmla="*/ 2217968 h 3096473"/>
              <a:gd name="connsiteX30" fmla="*/ 1915878 w 7709732"/>
              <a:gd name="connsiteY30" fmla="*/ 1762811 h 3096473"/>
              <a:gd name="connsiteX31" fmla="*/ 1914824 w 7709732"/>
              <a:gd name="connsiteY31" fmla="*/ 1433657 h 3096473"/>
              <a:gd name="connsiteX32" fmla="*/ 1915527 w 7709732"/>
              <a:gd name="connsiteY32" fmla="*/ 60980 h 3096473"/>
              <a:gd name="connsiteX33" fmla="*/ 5358027 w 7709732"/>
              <a:gd name="connsiteY33" fmla="*/ 60980 h 3096473"/>
              <a:gd name="connsiteX34" fmla="*/ 5358027 w 7709732"/>
              <a:gd name="connsiteY34" fmla="*/ 1406417 h 3096473"/>
              <a:gd name="connsiteX35" fmla="*/ 5041702 w 7709732"/>
              <a:gd name="connsiteY35" fmla="*/ 1406417 h 3096473"/>
              <a:gd name="connsiteX36" fmla="*/ 4528903 w 7709732"/>
              <a:gd name="connsiteY36" fmla="*/ 1523633 h 3096473"/>
              <a:gd name="connsiteX37" fmla="*/ 4475127 w 7709732"/>
              <a:gd name="connsiteY37" fmla="*/ 1900412 h 3096473"/>
              <a:gd name="connsiteX38" fmla="*/ 4861747 w 7709732"/>
              <a:gd name="connsiteY38" fmla="*/ 2357327 h 3096473"/>
              <a:gd name="connsiteX39" fmla="*/ 4439980 w 7709732"/>
              <a:gd name="connsiteY39" fmla="*/ 2357327 h 3096473"/>
              <a:gd name="connsiteX40" fmla="*/ 4167061 w 7709732"/>
              <a:gd name="connsiteY40" fmla="*/ 1406945 h 3096473"/>
              <a:gd name="connsiteX41" fmla="*/ 3769546 w 7709732"/>
              <a:gd name="connsiteY41" fmla="*/ 1406945 h 3096473"/>
              <a:gd name="connsiteX42" fmla="*/ 3769546 w 7709732"/>
              <a:gd name="connsiteY42" fmla="*/ 60980 h 3096473"/>
              <a:gd name="connsiteX43" fmla="*/ 7211695 w 7709732"/>
              <a:gd name="connsiteY43" fmla="*/ 60980 h 3096473"/>
              <a:gd name="connsiteX44" fmla="*/ 7211695 w 7709732"/>
              <a:gd name="connsiteY44" fmla="*/ 1409229 h 3096473"/>
              <a:gd name="connsiteX45" fmla="*/ 6829292 w 7709732"/>
              <a:gd name="connsiteY45" fmla="*/ 1409229 h 3096473"/>
              <a:gd name="connsiteX46" fmla="*/ 7033674 w 7709732"/>
              <a:gd name="connsiteY46" fmla="*/ 2088977 h 3096473"/>
              <a:gd name="connsiteX47" fmla="*/ 6402604 w 7709732"/>
              <a:gd name="connsiteY47" fmla="*/ 1410459 h 3096473"/>
              <a:gd name="connsiteX48" fmla="*/ 5884182 w 7709732"/>
              <a:gd name="connsiteY48" fmla="*/ 1410459 h 3096473"/>
              <a:gd name="connsiteX49" fmla="*/ 6691164 w 7709732"/>
              <a:gd name="connsiteY49" fmla="*/ 2235190 h 3096473"/>
              <a:gd name="connsiteX50" fmla="*/ 6632643 w 7709732"/>
              <a:gd name="connsiteY50" fmla="*/ 2358205 h 3096473"/>
              <a:gd name="connsiteX51" fmla="*/ 5884182 w 7709732"/>
              <a:gd name="connsiteY51" fmla="*/ 2358205 h 3096473"/>
              <a:gd name="connsiteX52" fmla="*/ 5875219 w 7709732"/>
              <a:gd name="connsiteY52" fmla="*/ 2331318 h 3096473"/>
              <a:gd name="connsiteX53" fmla="*/ 5647641 w 7709732"/>
              <a:gd name="connsiteY53" fmla="*/ 1573718 h 3096473"/>
              <a:gd name="connsiteX54" fmla="*/ 5622686 w 7709732"/>
              <a:gd name="connsiteY54" fmla="*/ 1491298 h 3096473"/>
              <a:gd name="connsiteX55" fmla="*/ 5622686 w 7709732"/>
              <a:gd name="connsiteY55" fmla="*/ 60980 h 3096473"/>
              <a:gd name="connsiteX56" fmla="*/ 1651219 w 7709732"/>
              <a:gd name="connsiteY56" fmla="*/ 60629 h 3096473"/>
              <a:gd name="connsiteX57" fmla="*/ 1651219 w 7709732"/>
              <a:gd name="connsiteY57" fmla="*/ 1501666 h 3096473"/>
              <a:gd name="connsiteX58" fmla="*/ 946516 w 7709732"/>
              <a:gd name="connsiteY58" fmla="*/ 1315562 h 3096473"/>
              <a:gd name="connsiteX59" fmla="*/ 373791 w 7709732"/>
              <a:gd name="connsiteY59" fmla="*/ 1512914 h 3096473"/>
              <a:gd name="connsiteX60" fmla="*/ 334250 w 7709732"/>
              <a:gd name="connsiteY60" fmla="*/ 1866671 h 3096473"/>
              <a:gd name="connsiteX61" fmla="*/ 811550 w 7709732"/>
              <a:gd name="connsiteY61" fmla="*/ 1866671 h 3096473"/>
              <a:gd name="connsiteX62" fmla="*/ 1050025 w 7709732"/>
              <a:gd name="connsiteY62" fmla="*/ 1640322 h 3096473"/>
              <a:gd name="connsiteX63" fmla="*/ 1632591 w 7709732"/>
              <a:gd name="connsiteY63" fmla="*/ 2208302 h 3096473"/>
              <a:gd name="connsiteX64" fmla="*/ 1651219 w 7709732"/>
              <a:gd name="connsiteY64" fmla="*/ 2302848 h 3096473"/>
              <a:gd name="connsiteX65" fmla="*/ 1651219 w 7709732"/>
              <a:gd name="connsiteY65" fmla="*/ 2357327 h 3096473"/>
              <a:gd name="connsiteX66" fmla="*/ 1263369 w 7709732"/>
              <a:gd name="connsiteY66" fmla="*/ 2357327 h 3096473"/>
              <a:gd name="connsiteX67" fmla="*/ 1197292 w 7709732"/>
              <a:gd name="connsiteY67" fmla="*/ 2092316 h 3096473"/>
              <a:gd name="connsiteX68" fmla="*/ 395407 w 7709732"/>
              <a:gd name="connsiteY68" fmla="*/ 2092316 h 3096473"/>
              <a:gd name="connsiteX69" fmla="*/ 460957 w 7709732"/>
              <a:gd name="connsiteY69" fmla="*/ 2357327 h 3096473"/>
              <a:gd name="connsiteX70" fmla="*/ 59750 w 7709732"/>
              <a:gd name="connsiteY70" fmla="*/ 2357327 h 3096473"/>
              <a:gd name="connsiteX71" fmla="*/ 60453 w 7709732"/>
              <a:gd name="connsiteY71" fmla="*/ 60629 h 3096473"/>
              <a:gd name="connsiteX72" fmla="*/ 7273027 w 7709732"/>
              <a:gd name="connsiteY72" fmla="*/ 0 h 3096473"/>
              <a:gd name="connsiteX73" fmla="*/ 5561003 w 7709732"/>
              <a:gd name="connsiteY73" fmla="*/ 0 h 3096473"/>
              <a:gd name="connsiteX74" fmla="*/ 5561003 w 7709732"/>
              <a:gd name="connsiteY74" fmla="*/ 1409229 h 3096473"/>
              <a:gd name="connsiteX75" fmla="*/ 5419359 w 7709732"/>
              <a:gd name="connsiteY75" fmla="*/ 1409229 h 3096473"/>
              <a:gd name="connsiteX76" fmla="*/ 5419359 w 7709732"/>
              <a:gd name="connsiteY76" fmla="*/ 0 h 3096473"/>
              <a:gd name="connsiteX77" fmla="*/ 3707511 w 7709732"/>
              <a:gd name="connsiteY77" fmla="*/ 0 h 3096473"/>
              <a:gd name="connsiteX78" fmla="*/ 3707511 w 7709732"/>
              <a:gd name="connsiteY78" fmla="*/ 1406945 h 3096473"/>
              <a:gd name="connsiteX79" fmla="*/ 3565692 w 7709732"/>
              <a:gd name="connsiteY79" fmla="*/ 1406945 h 3096473"/>
              <a:gd name="connsiteX80" fmla="*/ 3565692 w 7709732"/>
              <a:gd name="connsiteY80" fmla="*/ 0 h 3096473"/>
              <a:gd name="connsiteX81" fmla="*/ 1854370 w 7709732"/>
              <a:gd name="connsiteY81" fmla="*/ 0 h 3096473"/>
              <a:gd name="connsiteX82" fmla="*/ 1854370 w 7709732"/>
              <a:gd name="connsiteY82" fmla="*/ 1682499 h 3096473"/>
              <a:gd name="connsiteX83" fmla="*/ 1711497 w 7709732"/>
              <a:gd name="connsiteY83" fmla="*/ 1545073 h 3096473"/>
              <a:gd name="connsiteX84" fmla="*/ 1711497 w 7709732"/>
              <a:gd name="connsiteY84" fmla="*/ 0 h 3096473"/>
              <a:gd name="connsiteX85" fmla="*/ 0 w 7709732"/>
              <a:gd name="connsiteY85" fmla="*/ 0 h 3096473"/>
              <a:gd name="connsiteX86" fmla="*/ 0 w 7709732"/>
              <a:gd name="connsiteY86" fmla="*/ 2417428 h 3096473"/>
              <a:gd name="connsiteX87" fmla="*/ 475543 w 7709732"/>
              <a:gd name="connsiteY87" fmla="*/ 2417428 h 3096473"/>
              <a:gd name="connsiteX88" fmla="*/ 619822 w 7709732"/>
              <a:gd name="connsiteY88" fmla="*/ 3001400 h 3096473"/>
              <a:gd name="connsiteX89" fmla="*/ 1393941 w 7709732"/>
              <a:gd name="connsiteY89" fmla="*/ 3096473 h 3096473"/>
              <a:gd name="connsiteX90" fmla="*/ 1986876 w 7709732"/>
              <a:gd name="connsiteY90" fmla="*/ 2919683 h 3096473"/>
              <a:gd name="connsiteX91" fmla="*/ 2160503 w 7709732"/>
              <a:gd name="connsiteY91" fmla="*/ 2417428 h 3096473"/>
              <a:gd name="connsiteX92" fmla="*/ 2401438 w 7709732"/>
              <a:gd name="connsiteY92" fmla="*/ 2417428 h 3096473"/>
              <a:gd name="connsiteX93" fmla="*/ 2536755 w 7709732"/>
              <a:gd name="connsiteY93" fmla="*/ 3060623 h 3096473"/>
              <a:gd name="connsiteX94" fmla="*/ 2953426 w 7709732"/>
              <a:gd name="connsiteY94" fmla="*/ 3060623 h 3096473"/>
              <a:gd name="connsiteX95" fmla="*/ 2815824 w 7709732"/>
              <a:gd name="connsiteY95" fmla="*/ 2417428 h 3096473"/>
              <a:gd name="connsiteX96" fmla="*/ 3082592 w 7709732"/>
              <a:gd name="connsiteY96" fmla="*/ 2417428 h 3096473"/>
              <a:gd name="connsiteX97" fmla="*/ 3489949 w 7709732"/>
              <a:gd name="connsiteY97" fmla="*/ 3060623 h 3096473"/>
              <a:gd name="connsiteX98" fmla="*/ 3845113 w 7709732"/>
              <a:gd name="connsiteY98" fmla="*/ 3060623 h 3096473"/>
              <a:gd name="connsiteX99" fmla="*/ 3850209 w 7709732"/>
              <a:gd name="connsiteY99" fmla="*/ 2417428 h 3096473"/>
              <a:gd name="connsiteX100" fmla="*/ 4040707 w 7709732"/>
              <a:gd name="connsiteY100" fmla="*/ 2417428 h 3096473"/>
              <a:gd name="connsiteX101" fmla="*/ 4220134 w 7709732"/>
              <a:gd name="connsiteY101" fmla="*/ 3060623 h 3096473"/>
              <a:gd name="connsiteX102" fmla="*/ 4643483 w 7709732"/>
              <a:gd name="connsiteY102" fmla="*/ 3060623 h 3096473"/>
              <a:gd name="connsiteX103" fmla="*/ 4458081 w 7709732"/>
              <a:gd name="connsiteY103" fmla="*/ 2417428 h 3096473"/>
              <a:gd name="connsiteX104" fmla="*/ 5392647 w 7709732"/>
              <a:gd name="connsiteY104" fmla="*/ 2417428 h 3096473"/>
              <a:gd name="connsiteX105" fmla="*/ 5392647 w 7709732"/>
              <a:gd name="connsiteY105" fmla="*/ 2419186 h 3096473"/>
              <a:gd name="connsiteX106" fmla="*/ 5484909 w 7709732"/>
              <a:gd name="connsiteY106" fmla="*/ 2419186 h 3096473"/>
              <a:gd name="connsiteX107" fmla="*/ 5676813 w 7709732"/>
              <a:gd name="connsiteY107" fmla="*/ 3062381 h 3096473"/>
              <a:gd name="connsiteX108" fmla="*/ 6096647 w 7709732"/>
              <a:gd name="connsiteY108" fmla="*/ 3062381 h 3096473"/>
              <a:gd name="connsiteX109" fmla="*/ 5902107 w 7709732"/>
              <a:gd name="connsiteY109" fmla="*/ 2417428 h 3096473"/>
              <a:gd name="connsiteX110" fmla="*/ 6603471 w 7709732"/>
              <a:gd name="connsiteY110" fmla="*/ 2417428 h 3096473"/>
              <a:gd name="connsiteX111" fmla="*/ 6294175 w 7709732"/>
              <a:gd name="connsiteY111" fmla="*/ 3062381 h 3096473"/>
              <a:gd name="connsiteX112" fmla="*/ 6758119 w 7709732"/>
              <a:gd name="connsiteY112" fmla="*/ 3062381 h 3096473"/>
              <a:gd name="connsiteX113" fmla="*/ 7076729 w 7709732"/>
              <a:gd name="connsiteY113" fmla="*/ 2417428 h 3096473"/>
              <a:gd name="connsiteX114" fmla="*/ 7132262 w 7709732"/>
              <a:gd name="connsiteY114" fmla="*/ 2417428 h 3096473"/>
              <a:gd name="connsiteX115" fmla="*/ 7325572 w 7709732"/>
              <a:gd name="connsiteY115" fmla="*/ 3062381 h 3096473"/>
              <a:gd name="connsiteX116" fmla="*/ 7709732 w 7709732"/>
              <a:gd name="connsiteY116" fmla="*/ 3062381 h 3096473"/>
              <a:gd name="connsiteX117" fmla="*/ 7273027 w 7709732"/>
              <a:gd name="connsiteY117" fmla="*/ 1606054 h 309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09732" h="3096473">
                <a:moveTo>
                  <a:pt x="1658073" y="2417428"/>
                </a:moveTo>
                <a:cubicBezTo>
                  <a:pt x="1654734" y="2666095"/>
                  <a:pt x="1495165" y="2772767"/>
                  <a:pt x="1265829" y="2772767"/>
                </a:cubicBezTo>
                <a:cubicBezTo>
                  <a:pt x="1176028" y="2771519"/>
                  <a:pt x="1086525" y="2762293"/>
                  <a:pt x="998358" y="2745177"/>
                </a:cubicBezTo>
                <a:lnTo>
                  <a:pt x="916992" y="2417428"/>
                </a:lnTo>
                <a:close/>
                <a:moveTo>
                  <a:pt x="2679980" y="1787589"/>
                </a:moveTo>
                <a:lnTo>
                  <a:pt x="3042876" y="2357327"/>
                </a:lnTo>
                <a:lnTo>
                  <a:pt x="2802996" y="2357327"/>
                </a:lnTo>
                <a:close/>
                <a:moveTo>
                  <a:pt x="3855657" y="1762811"/>
                </a:moveTo>
                <a:lnTo>
                  <a:pt x="4022958" y="2357327"/>
                </a:lnTo>
                <a:lnTo>
                  <a:pt x="3849682" y="2357327"/>
                </a:lnTo>
                <a:close/>
                <a:moveTo>
                  <a:pt x="5197931" y="1669671"/>
                </a:moveTo>
                <a:cubicBezTo>
                  <a:pt x="5220074" y="1669671"/>
                  <a:pt x="5243096" y="1670725"/>
                  <a:pt x="5266820" y="1670725"/>
                </a:cubicBezTo>
                <a:lnTo>
                  <a:pt x="5320420" y="1872822"/>
                </a:lnTo>
                <a:lnTo>
                  <a:pt x="5342562" y="1959460"/>
                </a:lnTo>
                <a:lnTo>
                  <a:pt x="5389484" y="2133439"/>
                </a:lnTo>
                <a:lnTo>
                  <a:pt x="5287908" y="2133439"/>
                </a:lnTo>
                <a:cubicBezTo>
                  <a:pt x="5270686" y="2133439"/>
                  <a:pt x="5252761" y="2133439"/>
                  <a:pt x="5229388" y="2133439"/>
                </a:cubicBezTo>
                <a:cubicBezTo>
                  <a:pt x="5211639" y="2133439"/>
                  <a:pt x="5195998" y="2131154"/>
                  <a:pt x="5180709" y="2131154"/>
                </a:cubicBezTo>
                <a:lnTo>
                  <a:pt x="5180182" y="2131154"/>
                </a:lnTo>
                <a:cubicBezTo>
                  <a:pt x="4984587" y="2116216"/>
                  <a:pt x="4923958" y="2041528"/>
                  <a:pt x="4875806" y="1894613"/>
                </a:cubicBezTo>
                <a:cubicBezTo>
                  <a:pt x="4847864" y="1809381"/>
                  <a:pt x="4845053" y="1753145"/>
                  <a:pt x="4868601" y="1720634"/>
                </a:cubicBezTo>
                <a:cubicBezTo>
                  <a:pt x="4899531" y="1677403"/>
                  <a:pt x="4984587" y="1669671"/>
                  <a:pt x="5119201" y="1669671"/>
                </a:cubicBezTo>
                <a:close/>
                <a:moveTo>
                  <a:pt x="3505941" y="60980"/>
                </a:moveTo>
                <a:lnTo>
                  <a:pt x="3505941" y="2358205"/>
                </a:lnTo>
                <a:lnTo>
                  <a:pt x="3462358" y="2358205"/>
                </a:lnTo>
                <a:lnTo>
                  <a:pt x="2860461" y="1409229"/>
                </a:lnTo>
                <a:lnTo>
                  <a:pt x="2187918" y="1409229"/>
                </a:lnTo>
                <a:lnTo>
                  <a:pt x="2386676" y="2357327"/>
                </a:lnTo>
                <a:lnTo>
                  <a:pt x="2152947" y="2357327"/>
                </a:lnTo>
                <a:cubicBezTo>
                  <a:pt x="2148184" y="2310300"/>
                  <a:pt x="2139784" y="2263694"/>
                  <a:pt x="2127816" y="2217968"/>
                </a:cubicBezTo>
                <a:cubicBezTo>
                  <a:pt x="2086799" y="2054146"/>
                  <a:pt x="2014853" y="1899656"/>
                  <a:pt x="1915878" y="1762811"/>
                </a:cubicBezTo>
                <a:lnTo>
                  <a:pt x="1914824" y="1433657"/>
                </a:lnTo>
                <a:lnTo>
                  <a:pt x="1915527" y="60980"/>
                </a:lnTo>
                <a:close/>
                <a:moveTo>
                  <a:pt x="5358027" y="60980"/>
                </a:moveTo>
                <a:lnTo>
                  <a:pt x="5358027" y="1406417"/>
                </a:lnTo>
                <a:lnTo>
                  <a:pt x="5041702" y="1406417"/>
                </a:lnTo>
                <a:cubicBezTo>
                  <a:pt x="4851028" y="1406417"/>
                  <a:pt x="4636102" y="1395346"/>
                  <a:pt x="4528903" y="1523633"/>
                </a:cubicBezTo>
                <a:cubicBezTo>
                  <a:pt x="4457554" y="1609920"/>
                  <a:pt x="4441738" y="1724676"/>
                  <a:pt x="4475127" y="1900412"/>
                </a:cubicBezTo>
                <a:cubicBezTo>
                  <a:pt x="4516074" y="2125882"/>
                  <a:pt x="4646822" y="2277718"/>
                  <a:pt x="4861747" y="2357327"/>
                </a:cubicBezTo>
                <a:lnTo>
                  <a:pt x="4439980" y="2357327"/>
                </a:lnTo>
                <a:lnTo>
                  <a:pt x="4167061" y="1406945"/>
                </a:lnTo>
                <a:lnTo>
                  <a:pt x="3769546" y="1406945"/>
                </a:lnTo>
                <a:lnTo>
                  <a:pt x="3769546" y="60980"/>
                </a:lnTo>
                <a:close/>
                <a:moveTo>
                  <a:pt x="7211695" y="60980"/>
                </a:moveTo>
                <a:lnTo>
                  <a:pt x="7211695" y="1409229"/>
                </a:lnTo>
                <a:lnTo>
                  <a:pt x="6829292" y="1409229"/>
                </a:lnTo>
                <a:lnTo>
                  <a:pt x="7033674" y="2088977"/>
                </a:lnTo>
                <a:lnTo>
                  <a:pt x="6402604" y="1410459"/>
                </a:lnTo>
                <a:lnTo>
                  <a:pt x="5884182" y="1410459"/>
                </a:lnTo>
                <a:lnTo>
                  <a:pt x="6691164" y="2235190"/>
                </a:lnTo>
                <a:lnTo>
                  <a:pt x="6632643" y="2358205"/>
                </a:lnTo>
                <a:lnTo>
                  <a:pt x="5884182" y="2358205"/>
                </a:lnTo>
                <a:lnTo>
                  <a:pt x="5875219" y="2331318"/>
                </a:lnTo>
                <a:lnTo>
                  <a:pt x="5647641" y="1573718"/>
                </a:lnTo>
                <a:lnTo>
                  <a:pt x="5622686" y="1491298"/>
                </a:lnTo>
                <a:lnTo>
                  <a:pt x="5622686" y="60980"/>
                </a:lnTo>
                <a:close/>
                <a:moveTo>
                  <a:pt x="1651219" y="60629"/>
                </a:moveTo>
                <a:lnTo>
                  <a:pt x="1651219" y="1501666"/>
                </a:lnTo>
                <a:cubicBezTo>
                  <a:pt x="1412217" y="1345788"/>
                  <a:pt x="1135608" y="1315562"/>
                  <a:pt x="946516" y="1315562"/>
                </a:cubicBezTo>
                <a:cubicBezTo>
                  <a:pt x="680451" y="1315562"/>
                  <a:pt x="475543" y="1372324"/>
                  <a:pt x="373791" y="1512914"/>
                </a:cubicBezTo>
                <a:cubicBezTo>
                  <a:pt x="283814" y="1642783"/>
                  <a:pt x="315271" y="1783899"/>
                  <a:pt x="334250" y="1866671"/>
                </a:cubicBezTo>
                <a:lnTo>
                  <a:pt x="811550" y="1866671"/>
                </a:lnTo>
                <a:cubicBezTo>
                  <a:pt x="794153" y="1689177"/>
                  <a:pt x="921738" y="1640322"/>
                  <a:pt x="1050025" y="1640322"/>
                </a:cubicBezTo>
                <a:cubicBezTo>
                  <a:pt x="1374259" y="1640322"/>
                  <a:pt x="1562296" y="1922555"/>
                  <a:pt x="1632591" y="2208302"/>
                </a:cubicBezTo>
                <a:cubicBezTo>
                  <a:pt x="1640148" y="2241692"/>
                  <a:pt x="1645244" y="2272973"/>
                  <a:pt x="1651219" y="2302848"/>
                </a:cubicBezTo>
                <a:lnTo>
                  <a:pt x="1651219" y="2357327"/>
                </a:lnTo>
                <a:lnTo>
                  <a:pt x="1263369" y="2357327"/>
                </a:lnTo>
                <a:lnTo>
                  <a:pt x="1197292" y="2092316"/>
                </a:lnTo>
                <a:lnTo>
                  <a:pt x="395407" y="2092316"/>
                </a:lnTo>
                <a:lnTo>
                  <a:pt x="460957" y="2357327"/>
                </a:lnTo>
                <a:lnTo>
                  <a:pt x="59750" y="2357327"/>
                </a:lnTo>
                <a:lnTo>
                  <a:pt x="60453" y="60629"/>
                </a:lnTo>
                <a:close/>
                <a:moveTo>
                  <a:pt x="7273027" y="0"/>
                </a:moveTo>
                <a:lnTo>
                  <a:pt x="5561003" y="0"/>
                </a:lnTo>
                <a:lnTo>
                  <a:pt x="5561003" y="1409229"/>
                </a:lnTo>
                <a:lnTo>
                  <a:pt x="5419359" y="1409229"/>
                </a:lnTo>
                <a:lnTo>
                  <a:pt x="5419359" y="0"/>
                </a:lnTo>
                <a:lnTo>
                  <a:pt x="3707511" y="0"/>
                </a:lnTo>
                <a:lnTo>
                  <a:pt x="3707511" y="1406945"/>
                </a:lnTo>
                <a:lnTo>
                  <a:pt x="3565692" y="1406945"/>
                </a:lnTo>
                <a:lnTo>
                  <a:pt x="3565692" y="0"/>
                </a:lnTo>
                <a:lnTo>
                  <a:pt x="1854370" y="0"/>
                </a:lnTo>
                <a:lnTo>
                  <a:pt x="1854370" y="1682499"/>
                </a:lnTo>
                <a:cubicBezTo>
                  <a:pt x="1811087" y="1632379"/>
                  <a:pt x="1763269" y="1586371"/>
                  <a:pt x="1711497" y="1545073"/>
                </a:cubicBezTo>
                <a:lnTo>
                  <a:pt x="1711497" y="0"/>
                </a:lnTo>
                <a:lnTo>
                  <a:pt x="0" y="0"/>
                </a:lnTo>
                <a:lnTo>
                  <a:pt x="0" y="2417428"/>
                </a:lnTo>
                <a:lnTo>
                  <a:pt x="475543" y="2417428"/>
                </a:lnTo>
                <a:lnTo>
                  <a:pt x="619822" y="3001400"/>
                </a:lnTo>
                <a:cubicBezTo>
                  <a:pt x="873568" y="3061502"/>
                  <a:pt x="1133183" y="3093398"/>
                  <a:pt x="1393941" y="3096473"/>
                </a:cubicBezTo>
                <a:cubicBezTo>
                  <a:pt x="1577585" y="3096473"/>
                  <a:pt x="1825198" y="3068004"/>
                  <a:pt x="1986876" y="2919683"/>
                </a:cubicBezTo>
                <a:cubicBezTo>
                  <a:pt x="2119029" y="2797898"/>
                  <a:pt x="2169993" y="2616714"/>
                  <a:pt x="2160503" y="2417428"/>
                </a:cubicBezTo>
                <a:lnTo>
                  <a:pt x="2401438" y="2417428"/>
                </a:lnTo>
                <a:lnTo>
                  <a:pt x="2536755" y="3060623"/>
                </a:lnTo>
                <a:lnTo>
                  <a:pt x="2953426" y="3060623"/>
                </a:lnTo>
                <a:lnTo>
                  <a:pt x="2815824" y="2417428"/>
                </a:lnTo>
                <a:lnTo>
                  <a:pt x="3082592" y="2417428"/>
                </a:lnTo>
                <a:lnTo>
                  <a:pt x="3489949" y="3060623"/>
                </a:lnTo>
                <a:lnTo>
                  <a:pt x="3845113" y="3060623"/>
                </a:lnTo>
                <a:lnTo>
                  <a:pt x="3850209" y="2417428"/>
                </a:lnTo>
                <a:lnTo>
                  <a:pt x="4040707" y="2417428"/>
                </a:lnTo>
                <a:lnTo>
                  <a:pt x="4220134" y="3060623"/>
                </a:lnTo>
                <a:lnTo>
                  <a:pt x="4643483" y="3060623"/>
                </a:lnTo>
                <a:lnTo>
                  <a:pt x="4458081" y="2417428"/>
                </a:lnTo>
                <a:lnTo>
                  <a:pt x="5392647" y="2417428"/>
                </a:lnTo>
                <a:lnTo>
                  <a:pt x="5392647" y="2419186"/>
                </a:lnTo>
                <a:lnTo>
                  <a:pt x="5484909" y="2419186"/>
                </a:lnTo>
                <a:lnTo>
                  <a:pt x="5676813" y="3062381"/>
                </a:lnTo>
                <a:lnTo>
                  <a:pt x="6096647" y="3062381"/>
                </a:lnTo>
                <a:lnTo>
                  <a:pt x="5902107" y="2417428"/>
                </a:lnTo>
                <a:lnTo>
                  <a:pt x="6603471" y="2417428"/>
                </a:lnTo>
                <a:lnTo>
                  <a:pt x="6294175" y="3062381"/>
                </a:lnTo>
                <a:lnTo>
                  <a:pt x="6758119" y="3062381"/>
                </a:lnTo>
                <a:lnTo>
                  <a:pt x="7076729" y="2417428"/>
                </a:lnTo>
                <a:lnTo>
                  <a:pt x="7132262" y="2417428"/>
                </a:lnTo>
                <a:lnTo>
                  <a:pt x="7325572" y="3062381"/>
                </a:lnTo>
                <a:lnTo>
                  <a:pt x="7709732" y="3062381"/>
                </a:lnTo>
                <a:lnTo>
                  <a:pt x="7273027" y="1606054"/>
                </a:lnTo>
                <a:close/>
              </a:path>
            </a:pathLst>
          </a:custGeom>
        </p:spPr>
      </p:pic>
      <p:sp>
        <p:nvSpPr>
          <p:cNvPr id="7" name="Shape 8">
            <a:extLst>
              <a:ext uri="{FF2B5EF4-FFF2-40B4-BE49-F238E27FC236}">
                <a16:creationId xmlns:a16="http://schemas.microsoft.com/office/drawing/2014/main" id="{FB4B4C31-D5DC-413D-ACD8-70061BC10191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6CBF43-F8A7-4C4C-A764-38F3B60FD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297F94BA-E0EE-4D6A-A572-9F267DD6CE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3D1A92-E1A8-44F2-84CE-E33ED1461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7C6D7D-537F-4A3E-B0A0-3B8044951FC8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5075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FINAL SLIDE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4965-9C6E-45A9-AEEE-E0C2874F9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5110" r="31557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F23ADA7-3E7F-4804-B221-69FE4E3E79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642" t="7155" r="11054" b="43339"/>
          <a:stretch/>
        </p:blipFill>
        <p:spPr>
          <a:xfrm>
            <a:off x="1815867" y="1882368"/>
            <a:ext cx="6271272" cy="3099991"/>
          </a:xfrm>
          <a:custGeom>
            <a:avLst/>
            <a:gdLst>
              <a:gd name="connsiteX0" fmla="*/ 6058533 w 7718489"/>
              <a:gd name="connsiteY0" fmla="*/ 2420175 h 3099991"/>
              <a:gd name="connsiteX1" fmla="*/ 6451222 w 7718489"/>
              <a:gd name="connsiteY1" fmla="*/ 2775917 h 3099991"/>
              <a:gd name="connsiteX2" fmla="*/ 6718997 w 7718489"/>
              <a:gd name="connsiteY2" fmla="*/ 2748296 h 3099991"/>
              <a:gd name="connsiteX3" fmla="*/ 6800455 w 7718489"/>
              <a:gd name="connsiteY3" fmla="*/ 2420175 h 3099991"/>
              <a:gd name="connsiteX4" fmla="*/ 5035465 w 7718489"/>
              <a:gd name="connsiteY4" fmla="*/ 1789620 h 3099991"/>
              <a:gd name="connsiteX5" fmla="*/ 4672157 w 7718489"/>
              <a:gd name="connsiteY5" fmla="*/ 2360005 h 3099991"/>
              <a:gd name="connsiteX6" fmla="*/ 4912310 w 7718489"/>
              <a:gd name="connsiteY6" fmla="*/ 2360005 h 3099991"/>
              <a:gd name="connsiteX7" fmla="*/ 3858453 w 7718489"/>
              <a:gd name="connsiteY7" fmla="*/ 1764813 h 3099991"/>
              <a:gd name="connsiteX8" fmla="*/ 3690962 w 7718489"/>
              <a:gd name="connsiteY8" fmla="*/ 2360005 h 3099991"/>
              <a:gd name="connsiteX9" fmla="*/ 3864435 w 7718489"/>
              <a:gd name="connsiteY9" fmla="*/ 2360005 h 3099991"/>
              <a:gd name="connsiteX10" fmla="*/ 2514654 w 7718489"/>
              <a:gd name="connsiteY10" fmla="*/ 1671568 h 3099991"/>
              <a:gd name="connsiteX11" fmla="*/ 2445687 w 7718489"/>
              <a:gd name="connsiteY11" fmla="*/ 1672623 h 3099991"/>
              <a:gd name="connsiteX12" fmla="*/ 2392026 w 7718489"/>
              <a:gd name="connsiteY12" fmla="*/ 1874949 h 3099991"/>
              <a:gd name="connsiteX13" fmla="*/ 2369859 w 7718489"/>
              <a:gd name="connsiteY13" fmla="*/ 1961686 h 3099991"/>
              <a:gd name="connsiteX14" fmla="*/ 2322884 w 7718489"/>
              <a:gd name="connsiteY14" fmla="*/ 2135863 h 3099991"/>
              <a:gd name="connsiteX15" fmla="*/ 2424575 w 7718489"/>
              <a:gd name="connsiteY15" fmla="*/ 2135863 h 3099991"/>
              <a:gd name="connsiteX16" fmla="*/ 2483161 w 7718489"/>
              <a:gd name="connsiteY16" fmla="*/ 2135863 h 3099991"/>
              <a:gd name="connsiteX17" fmla="*/ 2531895 w 7718489"/>
              <a:gd name="connsiteY17" fmla="*/ 2133575 h 3099991"/>
              <a:gd name="connsiteX18" fmla="*/ 2532423 w 7718489"/>
              <a:gd name="connsiteY18" fmla="*/ 2133575 h 3099991"/>
              <a:gd name="connsiteX19" fmla="*/ 2837145 w 7718489"/>
              <a:gd name="connsiteY19" fmla="*/ 1896765 h 3099991"/>
              <a:gd name="connsiteX20" fmla="*/ 2844358 w 7718489"/>
              <a:gd name="connsiteY20" fmla="*/ 1722589 h 3099991"/>
              <a:gd name="connsiteX21" fmla="*/ 2593473 w 7718489"/>
              <a:gd name="connsiteY21" fmla="*/ 1671568 h 3099991"/>
              <a:gd name="connsiteX22" fmla="*/ 4208566 w 7718489"/>
              <a:gd name="connsiteY22" fmla="*/ 61049 h 3099991"/>
              <a:gd name="connsiteX23" fmla="*/ 4208566 w 7718489"/>
              <a:gd name="connsiteY23" fmla="*/ 2360885 h 3099991"/>
              <a:gd name="connsiteX24" fmla="*/ 4252198 w 7718489"/>
              <a:gd name="connsiteY24" fmla="*/ 2360885 h 3099991"/>
              <a:gd name="connsiteX25" fmla="*/ 4854779 w 7718489"/>
              <a:gd name="connsiteY25" fmla="*/ 1410830 h 3099991"/>
              <a:gd name="connsiteX26" fmla="*/ 5528086 w 7718489"/>
              <a:gd name="connsiteY26" fmla="*/ 1410830 h 3099991"/>
              <a:gd name="connsiteX27" fmla="*/ 5329102 w 7718489"/>
              <a:gd name="connsiteY27" fmla="*/ 2360005 h 3099991"/>
              <a:gd name="connsiteX28" fmla="*/ 5563097 w 7718489"/>
              <a:gd name="connsiteY28" fmla="*/ 2360005 h 3099991"/>
              <a:gd name="connsiteX29" fmla="*/ 5588256 w 7718489"/>
              <a:gd name="connsiteY29" fmla="*/ 2220488 h 3099991"/>
              <a:gd name="connsiteX30" fmla="*/ 5800435 w 7718489"/>
              <a:gd name="connsiteY30" fmla="*/ 1764813 h 3099991"/>
              <a:gd name="connsiteX31" fmla="*/ 5801491 w 7718489"/>
              <a:gd name="connsiteY31" fmla="*/ 1435285 h 3099991"/>
              <a:gd name="connsiteX32" fmla="*/ 5800787 w 7718489"/>
              <a:gd name="connsiteY32" fmla="*/ 61049 h 3099991"/>
              <a:gd name="connsiteX33" fmla="*/ 2354377 w 7718489"/>
              <a:gd name="connsiteY33" fmla="*/ 61049 h 3099991"/>
              <a:gd name="connsiteX34" fmla="*/ 2354377 w 7718489"/>
              <a:gd name="connsiteY34" fmla="*/ 1408015 h 3099991"/>
              <a:gd name="connsiteX35" fmla="*/ 2671061 w 7718489"/>
              <a:gd name="connsiteY35" fmla="*/ 1408015 h 3099991"/>
              <a:gd name="connsiteX36" fmla="*/ 3184442 w 7718489"/>
              <a:gd name="connsiteY36" fmla="*/ 1525364 h 3099991"/>
              <a:gd name="connsiteX37" fmla="*/ 3238279 w 7718489"/>
              <a:gd name="connsiteY37" fmla="*/ 1902571 h 3099991"/>
              <a:gd name="connsiteX38" fmla="*/ 2851219 w 7718489"/>
              <a:gd name="connsiteY38" fmla="*/ 2360005 h 3099991"/>
              <a:gd name="connsiteX39" fmla="*/ 3273466 w 7718489"/>
              <a:gd name="connsiteY39" fmla="*/ 2360005 h 3099991"/>
              <a:gd name="connsiteX40" fmla="*/ 3546695 w 7718489"/>
              <a:gd name="connsiteY40" fmla="*/ 1408543 h 3099991"/>
              <a:gd name="connsiteX41" fmla="*/ 3944662 w 7718489"/>
              <a:gd name="connsiteY41" fmla="*/ 1408543 h 3099991"/>
              <a:gd name="connsiteX42" fmla="*/ 3944662 w 7718489"/>
              <a:gd name="connsiteY42" fmla="*/ 61049 h 3099991"/>
              <a:gd name="connsiteX43" fmla="*/ 498603 w 7718489"/>
              <a:gd name="connsiteY43" fmla="*/ 61049 h 3099991"/>
              <a:gd name="connsiteX44" fmla="*/ 498603 w 7718489"/>
              <a:gd name="connsiteY44" fmla="*/ 1410830 h 3099991"/>
              <a:gd name="connsiteX45" fmla="*/ 881441 w 7718489"/>
              <a:gd name="connsiteY45" fmla="*/ 1410830 h 3099991"/>
              <a:gd name="connsiteX46" fmla="*/ 676826 w 7718489"/>
              <a:gd name="connsiteY46" fmla="*/ 2091351 h 3099991"/>
              <a:gd name="connsiteX47" fmla="*/ 1308612 w 7718489"/>
              <a:gd name="connsiteY47" fmla="*/ 1412062 h 3099991"/>
              <a:gd name="connsiteX48" fmla="*/ 1827624 w 7718489"/>
              <a:gd name="connsiteY48" fmla="*/ 1412062 h 3099991"/>
              <a:gd name="connsiteX49" fmla="*/ 1019725 w 7718489"/>
              <a:gd name="connsiteY49" fmla="*/ 2237729 h 3099991"/>
              <a:gd name="connsiteX50" fmla="*/ 1078312 w 7718489"/>
              <a:gd name="connsiteY50" fmla="*/ 2360885 h 3099991"/>
              <a:gd name="connsiteX51" fmla="*/ 1827624 w 7718489"/>
              <a:gd name="connsiteY51" fmla="*/ 2360885 h 3099991"/>
              <a:gd name="connsiteX52" fmla="*/ 1836596 w 7718489"/>
              <a:gd name="connsiteY52" fmla="*/ 2333966 h 3099991"/>
              <a:gd name="connsiteX53" fmla="*/ 2064435 w 7718489"/>
              <a:gd name="connsiteY53" fmla="*/ 1575506 h 3099991"/>
              <a:gd name="connsiteX54" fmla="*/ 2089417 w 7718489"/>
              <a:gd name="connsiteY54" fmla="*/ 1492992 h 3099991"/>
              <a:gd name="connsiteX55" fmla="*/ 2089417 w 7718489"/>
              <a:gd name="connsiteY55" fmla="*/ 61049 h 3099991"/>
              <a:gd name="connsiteX56" fmla="*/ 6065395 w 7718489"/>
              <a:gd name="connsiteY56" fmla="*/ 60698 h 3099991"/>
              <a:gd name="connsiteX57" fmla="*/ 6065395 w 7718489"/>
              <a:gd name="connsiteY57" fmla="*/ 1503372 h 3099991"/>
              <a:gd name="connsiteX58" fmla="*/ 6770898 w 7718489"/>
              <a:gd name="connsiteY58" fmla="*/ 1317056 h 3099991"/>
              <a:gd name="connsiteX59" fmla="*/ 7344274 w 7718489"/>
              <a:gd name="connsiteY59" fmla="*/ 1514632 h 3099991"/>
              <a:gd name="connsiteX60" fmla="*/ 7383859 w 7718489"/>
              <a:gd name="connsiteY60" fmla="*/ 1868792 h 3099991"/>
              <a:gd name="connsiteX61" fmla="*/ 6906017 w 7718489"/>
              <a:gd name="connsiteY61" fmla="*/ 1868792 h 3099991"/>
              <a:gd name="connsiteX62" fmla="*/ 6667272 w 7718489"/>
              <a:gd name="connsiteY62" fmla="*/ 1642186 h 3099991"/>
              <a:gd name="connsiteX63" fmla="*/ 6084044 w 7718489"/>
              <a:gd name="connsiteY63" fmla="*/ 2210811 h 3099991"/>
              <a:gd name="connsiteX64" fmla="*/ 6065395 w 7718489"/>
              <a:gd name="connsiteY64" fmla="*/ 2305465 h 3099991"/>
              <a:gd name="connsiteX65" fmla="*/ 6065395 w 7718489"/>
              <a:gd name="connsiteY65" fmla="*/ 2360005 h 3099991"/>
              <a:gd name="connsiteX66" fmla="*/ 6453685 w 7718489"/>
              <a:gd name="connsiteY66" fmla="*/ 2360005 h 3099991"/>
              <a:gd name="connsiteX67" fmla="*/ 6519837 w 7718489"/>
              <a:gd name="connsiteY67" fmla="*/ 2094693 h 3099991"/>
              <a:gd name="connsiteX68" fmla="*/ 7322633 w 7718489"/>
              <a:gd name="connsiteY68" fmla="*/ 2094693 h 3099991"/>
              <a:gd name="connsiteX69" fmla="*/ 7257009 w 7718489"/>
              <a:gd name="connsiteY69" fmla="*/ 2360005 h 3099991"/>
              <a:gd name="connsiteX70" fmla="*/ 7658671 w 7718489"/>
              <a:gd name="connsiteY70" fmla="*/ 2360005 h 3099991"/>
              <a:gd name="connsiteX71" fmla="*/ 7657967 w 7718489"/>
              <a:gd name="connsiteY71" fmla="*/ 60698 h 3099991"/>
              <a:gd name="connsiteX72" fmla="*/ 437201 w 7718489"/>
              <a:gd name="connsiteY72" fmla="*/ 0 h 3099991"/>
              <a:gd name="connsiteX73" fmla="*/ 2151170 w 7718489"/>
              <a:gd name="connsiteY73" fmla="*/ 0 h 3099991"/>
              <a:gd name="connsiteX74" fmla="*/ 2151170 w 7718489"/>
              <a:gd name="connsiteY74" fmla="*/ 1410830 h 3099991"/>
              <a:gd name="connsiteX75" fmla="*/ 2292974 w 7718489"/>
              <a:gd name="connsiteY75" fmla="*/ 1410830 h 3099991"/>
              <a:gd name="connsiteX76" fmla="*/ 2292974 w 7718489"/>
              <a:gd name="connsiteY76" fmla="*/ 0 h 3099991"/>
              <a:gd name="connsiteX77" fmla="*/ 4006767 w 7718489"/>
              <a:gd name="connsiteY77" fmla="*/ 0 h 3099991"/>
              <a:gd name="connsiteX78" fmla="*/ 4006767 w 7718489"/>
              <a:gd name="connsiteY78" fmla="*/ 1408543 h 3099991"/>
              <a:gd name="connsiteX79" fmla="*/ 4148748 w 7718489"/>
              <a:gd name="connsiteY79" fmla="*/ 1408543 h 3099991"/>
              <a:gd name="connsiteX80" fmla="*/ 4148748 w 7718489"/>
              <a:gd name="connsiteY80" fmla="*/ 0 h 3099991"/>
              <a:gd name="connsiteX81" fmla="*/ 5862013 w 7718489"/>
              <a:gd name="connsiteY81" fmla="*/ 0 h 3099991"/>
              <a:gd name="connsiteX82" fmla="*/ 5862013 w 7718489"/>
              <a:gd name="connsiteY82" fmla="*/ 1684411 h 3099991"/>
              <a:gd name="connsiteX83" fmla="*/ 6005048 w 7718489"/>
              <a:gd name="connsiteY83" fmla="*/ 1546829 h 3099991"/>
              <a:gd name="connsiteX84" fmla="*/ 6005048 w 7718489"/>
              <a:gd name="connsiteY84" fmla="*/ 0 h 3099991"/>
              <a:gd name="connsiteX85" fmla="*/ 7718489 w 7718489"/>
              <a:gd name="connsiteY85" fmla="*/ 0 h 3099991"/>
              <a:gd name="connsiteX86" fmla="*/ 7718489 w 7718489"/>
              <a:gd name="connsiteY86" fmla="*/ 2420175 h 3099991"/>
              <a:gd name="connsiteX87" fmla="*/ 7242406 w 7718489"/>
              <a:gd name="connsiteY87" fmla="*/ 2420175 h 3099991"/>
              <a:gd name="connsiteX88" fmla="*/ 7097963 w 7718489"/>
              <a:gd name="connsiteY88" fmla="*/ 3004810 h 3099991"/>
              <a:gd name="connsiteX89" fmla="*/ 6322965 w 7718489"/>
              <a:gd name="connsiteY89" fmla="*/ 3099991 h 3099991"/>
              <a:gd name="connsiteX90" fmla="*/ 5729357 w 7718489"/>
              <a:gd name="connsiteY90" fmla="*/ 2923000 h 3099991"/>
              <a:gd name="connsiteX91" fmla="*/ 5555532 w 7718489"/>
              <a:gd name="connsiteY91" fmla="*/ 2420175 h 3099991"/>
              <a:gd name="connsiteX92" fmla="*/ 5314324 w 7718489"/>
              <a:gd name="connsiteY92" fmla="*/ 2420175 h 3099991"/>
              <a:gd name="connsiteX93" fmla="*/ 5178853 w 7718489"/>
              <a:gd name="connsiteY93" fmla="*/ 3064101 h 3099991"/>
              <a:gd name="connsiteX94" fmla="*/ 4761709 w 7718489"/>
              <a:gd name="connsiteY94" fmla="*/ 3064101 h 3099991"/>
              <a:gd name="connsiteX95" fmla="*/ 4899466 w 7718489"/>
              <a:gd name="connsiteY95" fmla="*/ 2420175 h 3099991"/>
              <a:gd name="connsiteX96" fmla="*/ 4632396 w 7718489"/>
              <a:gd name="connsiteY96" fmla="*/ 2420175 h 3099991"/>
              <a:gd name="connsiteX97" fmla="*/ 4224576 w 7718489"/>
              <a:gd name="connsiteY97" fmla="*/ 3064101 h 3099991"/>
              <a:gd name="connsiteX98" fmla="*/ 3869009 w 7718489"/>
              <a:gd name="connsiteY98" fmla="*/ 3064101 h 3099991"/>
              <a:gd name="connsiteX99" fmla="*/ 3863907 w 7718489"/>
              <a:gd name="connsiteY99" fmla="*/ 2420175 h 3099991"/>
              <a:gd name="connsiteX100" fmla="*/ 3673193 w 7718489"/>
              <a:gd name="connsiteY100" fmla="*/ 2420175 h 3099991"/>
              <a:gd name="connsiteX101" fmla="*/ 3493562 w 7718489"/>
              <a:gd name="connsiteY101" fmla="*/ 3064101 h 3099991"/>
              <a:gd name="connsiteX102" fmla="*/ 3069732 w 7718489"/>
              <a:gd name="connsiteY102" fmla="*/ 3064101 h 3099991"/>
              <a:gd name="connsiteX103" fmla="*/ 3255345 w 7718489"/>
              <a:gd name="connsiteY103" fmla="*/ 2420175 h 3099991"/>
              <a:gd name="connsiteX104" fmla="*/ 2319717 w 7718489"/>
              <a:gd name="connsiteY104" fmla="*/ 2420175 h 3099991"/>
              <a:gd name="connsiteX105" fmla="*/ 2319717 w 7718489"/>
              <a:gd name="connsiteY105" fmla="*/ 2421934 h 3099991"/>
              <a:gd name="connsiteX106" fmla="*/ 2227350 w 7718489"/>
              <a:gd name="connsiteY106" fmla="*/ 2421934 h 3099991"/>
              <a:gd name="connsiteX107" fmla="*/ 2035229 w 7718489"/>
              <a:gd name="connsiteY107" fmla="*/ 3065860 h 3099991"/>
              <a:gd name="connsiteX108" fmla="*/ 1614917 w 7718489"/>
              <a:gd name="connsiteY108" fmla="*/ 3065860 h 3099991"/>
              <a:gd name="connsiteX109" fmla="*/ 1809678 w 7718489"/>
              <a:gd name="connsiteY109" fmla="*/ 2420175 h 3099991"/>
              <a:gd name="connsiteX110" fmla="*/ 1107517 w 7718489"/>
              <a:gd name="connsiteY110" fmla="*/ 2420175 h 3099991"/>
              <a:gd name="connsiteX111" fmla="*/ 1417165 w 7718489"/>
              <a:gd name="connsiteY111" fmla="*/ 3065860 h 3099991"/>
              <a:gd name="connsiteX112" fmla="*/ 952694 w 7718489"/>
              <a:gd name="connsiteY112" fmla="*/ 3065860 h 3099991"/>
              <a:gd name="connsiteX113" fmla="*/ 633723 w 7718489"/>
              <a:gd name="connsiteY113" fmla="*/ 2420175 h 3099991"/>
              <a:gd name="connsiteX114" fmla="*/ 578126 w 7718489"/>
              <a:gd name="connsiteY114" fmla="*/ 2420175 h 3099991"/>
              <a:gd name="connsiteX115" fmla="*/ 384596 w 7718489"/>
              <a:gd name="connsiteY115" fmla="*/ 3065860 h 3099991"/>
              <a:gd name="connsiteX116" fmla="*/ 0 w 7718489"/>
              <a:gd name="connsiteY116" fmla="*/ 3065860 h 3099991"/>
              <a:gd name="connsiteX117" fmla="*/ 437201 w 7718489"/>
              <a:gd name="connsiteY117" fmla="*/ 1607879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18489" h="3099991">
                <a:moveTo>
                  <a:pt x="6058533" y="2420175"/>
                </a:moveTo>
                <a:cubicBezTo>
                  <a:pt x="6061876" y="2669124"/>
                  <a:pt x="6221626" y="2775917"/>
                  <a:pt x="6451222" y="2775917"/>
                </a:cubicBezTo>
                <a:cubicBezTo>
                  <a:pt x="6541125" y="2774668"/>
                  <a:pt x="6630730" y="2765432"/>
                  <a:pt x="6718997" y="2748296"/>
                </a:cubicBezTo>
                <a:lnTo>
                  <a:pt x="6800455" y="2420175"/>
                </a:lnTo>
                <a:close/>
                <a:moveTo>
                  <a:pt x="5035465" y="1789620"/>
                </a:moveTo>
                <a:lnTo>
                  <a:pt x="4672157" y="2360005"/>
                </a:lnTo>
                <a:lnTo>
                  <a:pt x="4912310" y="2360005"/>
                </a:lnTo>
                <a:close/>
                <a:moveTo>
                  <a:pt x="3858453" y="1764813"/>
                </a:moveTo>
                <a:lnTo>
                  <a:pt x="3690962" y="2360005"/>
                </a:lnTo>
                <a:lnTo>
                  <a:pt x="3864435" y="2360005"/>
                </a:lnTo>
                <a:close/>
                <a:moveTo>
                  <a:pt x="2514654" y="1671568"/>
                </a:moveTo>
                <a:cubicBezTo>
                  <a:pt x="2492486" y="1671568"/>
                  <a:pt x="2469438" y="1672623"/>
                  <a:pt x="2445687" y="1672623"/>
                </a:cubicBezTo>
                <a:lnTo>
                  <a:pt x="2392026" y="1874949"/>
                </a:lnTo>
                <a:lnTo>
                  <a:pt x="2369859" y="1961686"/>
                </a:lnTo>
                <a:lnTo>
                  <a:pt x="2322884" y="2135863"/>
                </a:lnTo>
                <a:lnTo>
                  <a:pt x="2424575" y="2135863"/>
                </a:lnTo>
                <a:cubicBezTo>
                  <a:pt x="2441816" y="2135863"/>
                  <a:pt x="2459762" y="2135863"/>
                  <a:pt x="2483161" y="2135863"/>
                </a:cubicBezTo>
                <a:cubicBezTo>
                  <a:pt x="2500931" y="2135863"/>
                  <a:pt x="2516589" y="2133575"/>
                  <a:pt x="2531895" y="2133575"/>
                </a:cubicBezTo>
                <a:lnTo>
                  <a:pt x="2532423" y="2133575"/>
                </a:lnTo>
                <a:cubicBezTo>
                  <a:pt x="2728240" y="2118621"/>
                  <a:pt x="2788938" y="2043848"/>
                  <a:pt x="2837145" y="1896765"/>
                </a:cubicBezTo>
                <a:cubicBezTo>
                  <a:pt x="2865118" y="1811437"/>
                  <a:pt x="2867933" y="1755137"/>
                  <a:pt x="2844358" y="1722589"/>
                </a:cubicBezTo>
                <a:cubicBezTo>
                  <a:pt x="2813393" y="1679308"/>
                  <a:pt x="2728240" y="1671568"/>
                  <a:pt x="2593473" y="1671568"/>
                </a:cubicBezTo>
                <a:close/>
                <a:moveTo>
                  <a:pt x="4208566" y="61049"/>
                </a:moveTo>
                <a:lnTo>
                  <a:pt x="4208566" y="2360885"/>
                </a:lnTo>
                <a:lnTo>
                  <a:pt x="4252198" y="2360885"/>
                </a:lnTo>
                <a:lnTo>
                  <a:pt x="4854779" y="1410830"/>
                </a:lnTo>
                <a:lnTo>
                  <a:pt x="5528086" y="1410830"/>
                </a:lnTo>
                <a:lnTo>
                  <a:pt x="5329102" y="2360005"/>
                </a:lnTo>
                <a:lnTo>
                  <a:pt x="5563097" y="2360005"/>
                </a:lnTo>
                <a:cubicBezTo>
                  <a:pt x="5567865" y="2312924"/>
                  <a:pt x="5576275" y="2266266"/>
                  <a:pt x="5588256" y="2220488"/>
                </a:cubicBezTo>
                <a:cubicBezTo>
                  <a:pt x="5629319" y="2056480"/>
                  <a:pt x="5701348" y="1901815"/>
                  <a:pt x="5800435" y="1764813"/>
                </a:cubicBezTo>
                <a:lnTo>
                  <a:pt x="5801491" y="1435285"/>
                </a:lnTo>
                <a:lnTo>
                  <a:pt x="5800787" y="61049"/>
                </a:lnTo>
                <a:close/>
                <a:moveTo>
                  <a:pt x="2354377" y="61049"/>
                </a:moveTo>
                <a:lnTo>
                  <a:pt x="2354377" y="1408015"/>
                </a:lnTo>
                <a:lnTo>
                  <a:pt x="2671061" y="1408015"/>
                </a:lnTo>
                <a:cubicBezTo>
                  <a:pt x="2861952" y="1408015"/>
                  <a:pt x="3077121" y="1396931"/>
                  <a:pt x="3184442" y="1525364"/>
                </a:cubicBezTo>
                <a:cubicBezTo>
                  <a:pt x="3255872" y="1611749"/>
                  <a:pt x="3271706" y="1726635"/>
                  <a:pt x="3238279" y="1902571"/>
                </a:cubicBezTo>
                <a:cubicBezTo>
                  <a:pt x="3197286" y="2128297"/>
                  <a:pt x="3066389" y="2280306"/>
                  <a:pt x="2851219" y="2360005"/>
                </a:cubicBezTo>
                <a:lnTo>
                  <a:pt x="3273466" y="2360005"/>
                </a:lnTo>
                <a:lnTo>
                  <a:pt x="3546695" y="1408543"/>
                </a:lnTo>
                <a:lnTo>
                  <a:pt x="3944662" y="1408543"/>
                </a:lnTo>
                <a:lnTo>
                  <a:pt x="3944662" y="61049"/>
                </a:lnTo>
                <a:close/>
                <a:moveTo>
                  <a:pt x="498603" y="61049"/>
                </a:moveTo>
                <a:lnTo>
                  <a:pt x="498603" y="1410830"/>
                </a:lnTo>
                <a:lnTo>
                  <a:pt x="881441" y="1410830"/>
                </a:lnTo>
                <a:lnTo>
                  <a:pt x="676826" y="2091351"/>
                </a:lnTo>
                <a:lnTo>
                  <a:pt x="1308612" y="1412062"/>
                </a:lnTo>
                <a:lnTo>
                  <a:pt x="1827624" y="1412062"/>
                </a:lnTo>
                <a:lnTo>
                  <a:pt x="1019725" y="2237729"/>
                </a:lnTo>
                <a:lnTo>
                  <a:pt x="1078312" y="2360885"/>
                </a:lnTo>
                <a:lnTo>
                  <a:pt x="1827624" y="2360885"/>
                </a:lnTo>
                <a:lnTo>
                  <a:pt x="1836596" y="2333966"/>
                </a:lnTo>
                <a:lnTo>
                  <a:pt x="2064435" y="1575506"/>
                </a:lnTo>
                <a:lnTo>
                  <a:pt x="2089417" y="1492992"/>
                </a:lnTo>
                <a:lnTo>
                  <a:pt x="2089417" y="61049"/>
                </a:lnTo>
                <a:close/>
                <a:moveTo>
                  <a:pt x="6065395" y="60698"/>
                </a:moveTo>
                <a:lnTo>
                  <a:pt x="6065395" y="1503372"/>
                </a:lnTo>
                <a:cubicBezTo>
                  <a:pt x="6304668" y="1347317"/>
                  <a:pt x="6581591" y="1317056"/>
                  <a:pt x="6770898" y="1317056"/>
                </a:cubicBezTo>
                <a:cubicBezTo>
                  <a:pt x="7037265" y="1317056"/>
                  <a:pt x="7242406" y="1373884"/>
                  <a:pt x="7344274" y="1514632"/>
                </a:cubicBezTo>
                <a:cubicBezTo>
                  <a:pt x="7434353" y="1644649"/>
                  <a:pt x="7402860" y="1785926"/>
                  <a:pt x="7383859" y="1868792"/>
                </a:cubicBezTo>
                <a:lnTo>
                  <a:pt x="6906017" y="1868792"/>
                </a:lnTo>
                <a:cubicBezTo>
                  <a:pt x="6923434" y="1691096"/>
                  <a:pt x="6795705" y="1642186"/>
                  <a:pt x="6667272" y="1642186"/>
                </a:cubicBezTo>
                <a:cubicBezTo>
                  <a:pt x="6342669" y="1642186"/>
                  <a:pt x="6154418" y="1924739"/>
                  <a:pt x="6084044" y="2210811"/>
                </a:cubicBezTo>
                <a:cubicBezTo>
                  <a:pt x="6076479" y="2244239"/>
                  <a:pt x="6071376" y="2275556"/>
                  <a:pt x="6065395" y="2305465"/>
                </a:cubicBezTo>
                <a:lnTo>
                  <a:pt x="6065395" y="2360005"/>
                </a:lnTo>
                <a:lnTo>
                  <a:pt x="6453685" y="2360005"/>
                </a:lnTo>
                <a:lnTo>
                  <a:pt x="6519837" y="2094693"/>
                </a:lnTo>
                <a:lnTo>
                  <a:pt x="7322633" y="2094693"/>
                </a:lnTo>
                <a:lnTo>
                  <a:pt x="7257009" y="2360005"/>
                </a:lnTo>
                <a:lnTo>
                  <a:pt x="7658671" y="2360005"/>
                </a:lnTo>
                <a:lnTo>
                  <a:pt x="7657967" y="60698"/>
                </a:lnTo>
                <a:close/>
                <a:moveTo>
                  <a:pt x="437201" y="0"/>
                </a:moveTo>
                <a:lnTo>
                  <a:pt x="2151170" y="0"/>
                </a:lnTo>
                <a:lnTo>
                  <a:pt x="2151170" y="1410830"/>
                </a:lnTo>
                <a:lnTo>
                  <a:pt x="2292974" y="1410830"/>
                </a:lnTo>
                <a:lnTo>
                  <a:pt x="2292974" y="0"/>
                </a:lnTo>
                <a:lnTo>
                  <a:pt x="4006767" y="0"/>
                </a:lnTo>
                <a:lnTo>
                  <a:pt x="4006767" y="1408543"/>
                </a:lnTo>
                <a:lnTo>
                  <a:pt x="4148748" y="1408543"/>
                </a:lnTo>
                <a:lnTo>
                  <a:pt x="4148748" y="0"/>
                </a:lnTo>
                <a:lnTo>
                  <a:pt x="5862013" y="0"/>
                </a:lnTo>
                <a:lnTo>
                  <a:pt x="5862013" y="1684411"/>
                </a:lnTo>
                <a:cubicBezTo>
                  <a:pt x="5905345" y="1634234"/>
                  <a:pt x="5953218" y="1588174"/>
                  <a:pt x="6005048" y="1546829"/>
                </a:cubicBezTo>
                <a:lnTo>
                  <a:pt x="6005048" y="0"/>
                </a:lnTo>
                <a:lnTo>
                  <a:pt x="7718489" y="0"/>
                </a:lnTo>
                <a:lnTo>
                  <a:pt x="7718489" y="2420175"/>
                </a:lnTo>
                <a:lnTo>
                  <a:pt x="7242406" y="2420175"/>
                </a:lnTo>
                <a:lnTo>
                  <a:pt x="7097963" y="3004810"/>
                </a:lnTo>
                <a:cubicBezTo>
                  <a:pt x="6843929" y="3064980"/>
                  <a:pt x="6584019" y="3096913"/>
                  <a:pt x="6322965" y="3099991"/>
                </a:cubicBezTo>
                <a:cubicBezTo>
                  <a:pt x="6139112" y="3099991"/>
                  <a:pt x="5891218" y="3071490"/>
                  <a:pt x="5729357" y="2923000"/>
                </a:cubicBezTo>
                <a:cubicBezTo>
                  <a:pt x="5597053" y="2801076"/>
                  <a:pt x="5546031" y="2619686"/>
                  <a:pt x="5555532" y="2420175"/>
                </a:cubicBezTo>
                <a:lnTo>
                  <a:pt x="5314324" y="2420175"/>
                </a:lnTo>
                <a:lnTo>
                  <a:pt x="5178853" y="3064101"/>
                </a:lnTo>
                <a:lnTo>
                  <a:pt x="4761709" y="3064101"/>
                </a:lnTo>
                <a:lnTo>
                  <a:pt x="4899466" y="2420175"/>
                </a:lnTo>
                <a:lnTo>
                  <a:pt x="4632396" y="2420175"/>
                </a:lnTo>
                <a:lnTo>
                  <a:pt x="4224576" y="3064101"/>
                </a:lnTo>
                <a:lnTo>
                  <a:pt x="3869009" y="3064101"/>
                </a:lnTo>
                <a:lnTo>
                  <a:pt x="3863907" y="2420175"/>
                </a:lnTo>
                <a:lnTo>
                  <a:pt x="3673193" y="2420175"/>
                </a:lnTo>
                <a:lnTo>
                  <a:pt x="3493562" y="3064101"/>
                </a:lnTo>
                <a:lnTo>
                  <a:pt x="3069732" y="3064101"/>
                </a:lnTo>
                <a:lnTo>
                  <a:pt x="3255345" y="2420175"/>
                </a:lnTo>
                <a:lnTo>
                  <a:pt x="2319717" y="2420175"/>
                </a:lnTo>
                <a:lnTo>
                  <a:pt x="2319717" y="2421934"/>
                </a:lnTo>
                <a:lnTo>
                  <a:pt x="2227350" y="2421934"/>
                </a:lnTo>
                <a:lnTo>
                  <a:pt x="2035229" y="3065860"/>
                </a:lnTo>
                <a:lnTo>
                  <a:pt x="1614917" y="3065860"/>
                </a:lnTo>
                <a:lnTo>
                  <a:pt x="1809678" y="2420175"/>
                </a:lnTo>
                <a:lnTo>
                  <a:pt x="1107517" y="2420175"/>
                </a:lnTo>
                <a:lnTo>
                  <a:pt x="1417165" y="3065860"/>
                </a:lnTo>
                <a:lnTo>
                  <a:pt x="952694" y="3065860"/>
                </a:lnTo>
                <a:lnTo>
                  <a:pt x="633723" y="2420175"/>
                </a:lnTo>
                <a:lnTo>
                  <a:pt x="578126" y="2420175"/>
                </a:lnTo>
                <a:lnTo>
                  <a:pt x="384596" y="3065860"/>
                </a:lnTo>
                <a:lnTo>
                  <a:pt x="0" y="3065860"/>
                </a:lnTo>
                <a:lnTo>
                  <a:pt x="437201" y="1607879"/>
                </a:lnTo>
                <a:close/>
              </a:path>
            </a:pathLst>
          </a:custGeom>
        </p:spPr>
      </p:pic>
      <p:sp>
        <p:nvSpPr>
          <p:cNvPr id="7" name="Shape 8">
            <a:extLst>
              <a:ext uri="{FF2B5EF4-FFF2-40B4-BE49-F238E27FC236}">
                <a16:creationId xmlns:a16="http://schemas.microsoft.com/office/drawing/2014/main" id="{4CBCC8CD-E01A-4F61-8E09-23B36481DC5C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F707DF-6B0D-4CA9-B3CD-89CCCE5F9F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4E889479-F88E-49B0-B6A9-E0CF984888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252D93-E833-4E17-B413-8EC0339BA7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9E8285-6E10-4938-8BBA-7C8DC8C95F47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89259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1B8724-6109-47A4-A438-AD136BBBDA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34232" r="45531" b="3101"/>
          <a:stretch/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65B88E-59B6-4300-A6A5-FE6907AB6F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282F9A0-CBE4-4286-9E2C-A2D2CAD180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6828" t="41914" r="17655" b="24642"/>
          <a:stretch/>
        </p:blipFill>
        <p:spPr>
          <a:xfrm>
            <a:off x="1815867" y="1882368"/>
            <a:ext cx="6271272" cy="3099991"/>
          </a:xfrm>
          <a:custGeom>
            <a:avLst/>
            <a:gdLst>
              <a:gd name="connsiteX0" fmla="*/ 6058533 w 7718489"/>
              <a:gd name="connsiteY0" fmla="*/ 2420175 h 3099991"/>
              <a:gd name="connsiteX1" fmla="*/ 6451222 w 7718489"/>
              <a:gd name="connsiteY1" fmla="*/ 2775917 h 3099991"/>
              <a:gd name="connsiteX2" fmla="*/ 6718997 w 7718489"/>
              <a:gd name="connsiteY2" fmla="*/ 2748296 h 3099991"/>
              <a:gd name="connsiteX3" fmla="*/ 6800455 w 7718489"/>
              <a:gd name="connsiteY3" fmla="*/ 2420175 h 3099991"/>
              <a:gd name="connsiteX4" fmla="*/ 5035465 w 7718489"/>
              <a:gd name="connsiteY4" fmla="*/ 1789620 h 3099991"/>
              <a:gd name="connsiteX5" fmla="*/ 4672157 w 7718489"/>
              <a:gd name="connsiteY5" fmla="*/ 2360005 h 3099991"/>
              <a:gd name="connsiteX6" fmla="*/ 4912310 w 7718489"/>
              <a:gd name="connsiteY6" fmla="*/ 2360005 h 3099991"/>
              <a:gd name="connsiteX7" fmla="*/ 3858453 w 7718489"/>
              <a:gd name="connsiteY7" fmla="*/ 1764813 h 3099991"/>
              <a:gd name="connsiteX8" fmla="*/ 3690962 w 7718489"/>
              <a:gd name="connsiteY8" fmla="*/ 2360005 h 3099991"/>
              <a:gd name="connsiteX9" fmla="*/ 3864435 w 7718489"/>
              <a:gd name="connsiteY9" fmla="*/ 2360005 h 3099991"/>
              <a:gd name="connsiteX10" fmla="*/ 2514654 w 7718489"/>
              <a:gd name="connsiteY10" fmla="*/ 1671568 h 3099991"/>
              <a:gd name="connsiteX11" fmla="*/ 2445687 w 7718489"/>
              <a:gd name="connsiteY11" fmla="*/ 1672623 h 3099991"/>
              <a:gd name="connsiteX12" fmla="*/ 2392026 w 7718489"/>
              <a:gd name="connsiteY12" fmla="*/ 1874949 h 3099991"/>
              <a:gd name="connsiteX13" fmla="*/ 2369859 w 7718489"/>
              <a:gd name="connsiteY13" fmla="*/ 1961686 h 3099991"/>
              <a:gd name="connsiteX14" fmla="*/ 2322884 w 7718489"/>
              <a:gd name="connsiteY14" fmla="*/ 2135863 h 3099991"/>
              <a:gd name="connsiteX15" fmla="*/ 2424575 w 7718489"/>
              <a:gd name="connsiteY15" fmla="*/ 2135863 h 3099991"/>
              <a:gd name="connsiteX16" fmla="*/ 2483161 w 7718489"/>
              <a:gd name="connsiteY16" fmla="*/ 2135863 h 3099991"/>
              <a:gd name="connsiteX17" fmla="*/ 2531895 w 7718489"/>
              <a:gd name="connsiteY17" fmla="*/ 2133575 h 3099991"/>
              <a:gd name="connsiteX18" fmla="*/ 2532423 w 7718489"/>
              <a:gd name="connsiteY18" fmla="*/ 2133575 h 3099991"/>
              <a:gd name="connsiteX19" fmla="*/ 2837145 w 7718489"/>
              <a:gd name="connsiteY19" fmla="*/ 1896765 h 3099991"/>
              <a:gd name="connsiteX20" fmla="*/ 2844358 w 7718489"/>
              <a:gd name="connsiteY20" fmla="*/ 1722589 h 3099991"/>
              <a:gd name="connsiteX21" fmla="*/ 2593473 w 7718489"/>
              <a:gd name="connsiteY21" fmla="*/ 1671568 h 3099991"/>
              <a:gd name="connsiteX22" fmla="*/ 4208566 w 7718489"/>
              <a:gd name="connsiteY22" fmla="*/ 61049 h 3099991"/>
              <a:gd name="connsiteX23" fmla="*/ 4208566 w 7718489"/>
              <a:gd name="connsiteY23" fmla="*/ 2360885 h 3099991"/>
              <a:gd name="connsiteX24" fmla="*/ 4252198 w 7718489"/>
              <a:gd name="connsiteY24" fmla="*/ 2360885 h 3099991"/>
              <a:gd name="connsiteX25" fmla="*/ 4854779 w 7718489"/>
              <a:gd name="connsiteY25" fmla="*/ 1410830 h 3099991"/>
              <a:gd name="connsiteX26" fmla="*/ 5528086 w 7718489"/>
              <a:gd name="connsiteY26" fmla="*/ 1410830 h 3099991"/>
              <a:gd name="connsiteX27" fmla="*/ 5329102 w 7718489"/>
              <a:gd name="connsiteY27" fmla="*/ 2360005 h 3099991"/>
              <a:gd name="connsiteX28" fmla="*/ 5563097 w 7718489"/>
              <a:gd name="connsiteY28" fmla="*/ 2360005 h 3099991"/>
              <a:gd name="connsiteX29" fmla="*/ 5588256 w 7718489"/>
              <a:gd name="connsiteY29" fmla="*/ 2220488 h 3099991"/>
              <a:gd name="connsiteX30" fmla="*/ 5800435 w 7718489"/>
              <a:gd name="connsiteY30" fmla="*/ 1764813 h 3099991"/>
              <a:gd name="connsiteX31" fmla="*/ 5801491 w 7718489"/>
              <a:gd name="connsiteY31" fmla="*/ 1435285 h 3099991"/>
              <a:gd name="connsiteX32" fmla="*/ 5800787 w 7718489"/>
              <a:gd name="connsiteY32" fmla="*/ 61049 h 3099991"/>
              <a:gd name="connsiteX33" fmla="*/ 2354376 w 7718489"/>
              <a:gd name="connsiteY33" fmla="*/ 61049 h 3099991"/>
              <a:gd name="connsiteX34" fmla="*/ 2354376 w 7718489"/>
              <a:gd name="connsiteY34" fmla="*/ 1408015 h 3099991"/>
              <a:gd name="connsiteX35" fmla="*/ 2671061 w 7718489"/>
              <a:gd name="connsiteY35" fmla="*/ 1408015 h 3099991"/>
              <a:gd name="connsiteX36" fmla="*/ 3184442 w 7718489"/>
              <a:gd name="connsiteY36" fmla="*/ 1525364 h 3099991"/>
              <a:gd name="connsiteX37" fmla="*/ 3238279 w 7718489"/>
              <a:gd name="connsiteY37" fmla="*/ 1902571 h 3099991"/>
              <a:gd name="connsiteX38" fmla="*/ 2851219 w 7718489"/>
              <a:gd name="connsiteY38" fmla="*/ 2360005 h 3099991"/>
              <a:gd name="connsiteX39" fmla="*/ 3273466 w 7718489"/>
              <a:gd name="connsiteY39" fmla="*/ 2360005 h 3099991"/>
              <a:gd name="connsiteX40" fmla="*/ 3546695 w 7718489"/>
              <a:gd name="connsiteY40" fmla="*/ 1408543 h 3099991"/>
              <a:gd name="connsiteX41" fmla="*/ 3944662 w 7718489"/>
              <a:gd name="connsiteY41" fmla="*/ 1408543 h 3099991"/>
              <a:gd name="connsiteX42" fmla="*/ 3944662 w 7718489"/>
              <a:gd name="connsiteY42" fmla="*/ 61049 h 3099991"/>
              <a:gd name="connsiteX43" fmla="*/ 498603 w 7718489"/>
              <a:gd name="connsiteY43" fmla="*/ 61049 h 3099991"/>
              <a:gd name="connsiteX44" fmla="*/ 498603 w 7718489"/>
              <a:gd name="connsiteY44" fmla="*/ 1410830 h 3099991"/>
              <a:gd name="connsiteX45" fmla="*/ 881440 w 7718489"/>
              <a:gd name="connsiteY45" fmla="*/ 1410830 h 3099991"/>
              <a:gd name="connsiteX46" fmla="*/ 676826 w 7718489"/>
              <a:gd name="connsiteY46" fmla="*/ 2091351 h 3099991"/>
              <a:gd name="connsiteX47" fmla="*/ 1308612 w 7718489"/>
              <a:gd name="connsiteY47" fmla="*/ 1412062 h 3099991"/>
              <a:gd name="connsiteX48" fmla="*/ 1827624 w 7718489"/>
              <a:gd name="connsiteY48" fmla="*/ 1412062 h 3099991"/>
              <a:gd name="connsiteX49" fmla="*/ 1019725 w 7718489"/>
              <a:gd name="connsiteY49" fmla="*/ 2237729 h 3099991"/>
              <a:gd name="connsiteX50" fmla="*/ 1078312 w 7718489"/>
              <a:gd name="connsiteY50" fmla="*/ 2360885 h 3099991"/>
              <a:gd name="connsiteX51" fmla="*/ 1827624 w 7718489"/>
              <a:gd name="connsiteY51" fmla="*/ 2360885 h 3099991"/>
              <a:gd name="connsiteX52" fmla="*/ 1836596 w 7718489"/>
              <a:gd name="connsiteY52" fmla="*/ 2333966 h 3099991"/>
              <a:gd name="connsiteX53" fmla="*/ 2064434 w 7718489"/>
              <a:gd name="connsiteY53" fmla="*/ 1575506 h 3099991"/>
              <a:gd name="connsiteX54" fmla="*/ 2089416 w 7718489"/>
              <a:gd name="connsiteY54" fmla="*/ 1492992 h 3099991"/>
              <a:gd name="connsiteX55" fmla="*/ 2089416 w 7718489"/>
              <a:gd name="connsiteY55" fmla="*/ 61049 h 3099991"/>
              <a:gd name="connsiteX56" fmla="*/ 6065395 w 7718489"/>
              <a:gd name="connsiteY56" fmla="*/ 60698 h 3099991"/>
              <a:gd name="connsiteX57" fmla="*/ 6065395 w 7718489"/>
              <a:gd name="connsiteY57" fmla="*/ 1503372 h 3099991"/>
              <a:gd name="connsiteX58" fmla="*/ 6770898 w 7718489"/>
              <a:gd name="connsiteY58" fmla="*/ 1317056 h 3099991"/>
              <a:gd name="connsiteX59" fmla="*/ 7344274 w 7718489"/>
              <a:gd name="connsiteY59" fmla="*/ 1514632 h 3099991"/>
              <a:gd name="connsiteX60" fmla="*/ 7383859 w 7718489"/>
              <a:gd name="connsiteY60" fmla="*/ 1868792 h 3099991"/>
              <a:gd name="connsiteX61" fmla="*/ 6906017 w 7718489"/>
              <a:gd name="connsiteY61" fmla="*/ 1868792 h 3099991"/>
              <a:gd name="connsiteX62" fmla="*/ 6667272 w 7718489"/>
              <a:gd name="connsiteY62" fmla="*/ 1642186 h 3099991"/>
              <a:gd name="connsiteX63" fmla="*/ 6084044 w 7718489"/>
              <a:gd name="connsiteY63" fmla="*/ 2210811 h 3099991"/>
              <a:gd name="connsiteX64" fmla="*/ 6065395 w 7718489"/>
              <a:gd name="connsiteY64" fmla="*/ 2305465 h 3099991"/>
              <a:gd name="connsiteX65" fmla="*/ 6065395 w 7718489"/>
              <a:gd name="connsiteY65" fmla="*/ 2360005 h 3099991"/>
              <a:gd name="connsiteX66" fmla="*/ 6453685 w 7718489"/>
              <a:gd name="connsiteY66" fmla="*/ 2360005 h 3099991"/>
              <a:gd name="connsiteX67" fmla="*/ 6519837 w 7718489"/>
              <a:gd name="connsiteY67" fmla="*/ 2094693 h 3099991"/>
              <a:gd name="connsiteX68" fmla="*/ 7322633 w 7718489"/>
              <a:gd name="connsiteY68" fmla="*/ 2094693 h 3099991"/>
              <a:gd name="connsiteX69" fmla="*/ 7257009 w 7718489"/>
              <a:gd name="connsiteY69" fmla="*/ 2360005 h 3099991"/>
              <a:gd name="connsiteX70" fmla="*/ 7658671 w 7718489"/>
              <a:gd name="connsiteY70" fmla="*/ 2360005 h 3099991"/>
              <a:gd name="connsiteX71" fmla="*/ 7657967 w 7718489"/>
              <a:gd name="connsiteY71" fmla="*/ 60698 h 3099991"/>
              <a:gd name="connsiteX72" fmla="*/ 437201 w 7718489"/>
              <a:gd name="connsiteY72" fmla="*/ 0 h 3099991"/>
              <a:gd name="connsiteX73" fmla="*/ 2151170 w 7718489"/>
              <a:gd name="connsiteY73" fmla="*/ 0 h 3099991"/>
              <a:gd name="connsiteX74" fmla="*/ 2151170 w 7718489"/>
              <a:gd name="connsiteY74" fmla="*/ 1410830 h 3099991"/>
              <a:gd name="connsiteX75" fmla="*/ 2292974 w 7718489"/>
              <a:gd name="connsiteY75" fmla="*/ 1410830 h 3099991"/>
              <a:gd name="connsiteX76" fmla="*/ 2292974 w 7718489"/>
              <a:gd name="connsiteY76" fmla="*/ 0 h 3099991"/>
              <a:gd name="connsiteX77" fmla="*/ 4006767 w 7718489"/>
              <a:gd name="connsiteY77" fmla="*/ 0 h 3099991"/>
              <a:gd name="connsiteX78" fmla="*/ 4006767 w 7718489"/>
              <a:gd name="connsiteY78" fmla="*/ 1408543 h 3099991"/>
              <a:gd name="connsiteX79" fmla="*/ 4148748 w 7718489"/>
              <a:gd name="connsiteY79" fmla="*/ 1408543 h 3099991"/>
              <a:gd name="connsiteX80" fmla="*/ 4148748 w 7718489"/>
              <a:gd name="connsiteY80" fmla="*/ 0 h 3099991"/>
              <a:gd name="connsiteX81" fmla="*/ 5862013 w 7718489"/>
              <a:gd name="connsiteY81" fmla="*/ 0 h 3099991"/>
              <a:gd name="connsiteX82" fmla="*/ 5862013 w 7718489"/>
              <a:gd name="connsiteY82" fmla="*/ 1684411 h 3099991"/>
              <a:gd name="connsiteX83" fmla="*/ 6005048 w 7718489"/>
              <a:gd name="connsiteY83" fmla="*/ 1546829 h 3099991"/>
              <a:gd name="connsiteX84" fmla="*/ 6005048 w 7718489"/>
              <a:gd name="connsiteY84" fmla="*/ 0 h 3099991"/>
              <a:gd name="connsiteX85" fmla="*/ 7718489 w 7718489"/>
              <a:gd name="connsiteY85" fmla="*/ 0 h 3099991"/>
              <a:gd name="connsiteX86" fmla="*/ 7718489 w 7718489"/>
              <a:gd name="connsiteY86" fmla="*/ 2420175 h 3099991"/>
              <a:gd name="connsiteX87" fmla="*/ 7242406 w 7718489"/>
              <a:gd name="connsiteY87" fmla="*/ 2420175 h 3099991"/>
              <a:gd name="connsiteX88" fmla="*/ 7097963 w 7718489"/>
              <a:gd name="connsiteY88" fmla="*/ 3004810 h 3099991"/>
              <a:gd name="connsiteX89" fmla="*/ 6322965 w 7718489"/>
              <a:gd name="connsiteY89" fmla="*/ 3099991 h 3099991"/>
              <a:gd name="connsiteX90" fmla="*/ 5729357 w 7718489"/>
              <a:gd name="connsiteY90" fmla="*/ 2923000 h 3099991"/>
              <a:gd name="connsiteX91" fmla="*/ 5555532 w 7718489"/>
              <a:gd name="connsiteY91" fmla="*/ 2420175 h 3099991"/>
              <a:gd name="connsiteX92" fmla="*/ 5314324 w 7718489"/>
              <a:gd name="connsiteY92" fmla="*/ 2420175 h 3099991"/>
              <a:gd name="connsiteX93" fmla="*/ 5178853 w 7718489"/>
              <a:gd name="connsiteY93" fmla="*/ 3064101 h 3099991"/>
              <a:gd name="connsiteX94" fmla="*/ 4761709 w 7718489"/>
              <a:gd name="connsiteY94" fmla="*/ 3064101 h 3099991"/>
              <a:gd name="connsiteX95" fmla="*/ 4899466 w 7718489"/>
              <a:gd name="connsiteY95" fmla="*/ 2420175 h 3099991"/>
              <a:gd name="connsiteX96" fmla="*/ 4632396 w 7718489"/>
              <a:gd name="connsiteY96" fmla="*/ 2420175 h 3099991"/>
              <a:gd name="connsiteX97" fmla="*/ 4224576 w 7718489"/>
              <a:gd name="connsiteY97" fmla="*/ 3064101 h 3099991"/>
              <a:gd name="connsiteX98" fmla="*/ 3869009 w 7718489"/>
              <a:gd name="connsiteY98" fmla="*/ 3064101 h 3099991"/>
              <a:gd name="connsiteX99" fmla="*/ 3863907 w 7718489"/>
              <a:gd name="connsiteY99" fmla="*/ 2420175 h 3099991"/>
              <a:gd name="connsiteX100" fmla="*/ 3673193 w 7718489"/>
              <a:gd name="connsiteY100" fmla="*/ 2420175 h 3099991"/>
              <a:gd name="connsiteX101" fmla="*/ 3493562 w 7718489"/>
              <a:gd name="connsiteY101" fmla="*/ 3064101 h 3099991"/>
              <a:gd name="connsiteX102" fmla="*/ 3069732 w 7718489"/>
              <a:gd name="connsiteY102" fmla="*/ 3064101 h 3099991"/>
              <a:gd name="connsiteX103" fmla="*/ 3255345 w 7718489"/>
              <a:gd name="connsiteY103" fmla="*/ 2420175 h 3099991"/>
              <a:gd name="connsiteX104" fmla="*/ 2319717 w 7718489"/>
              <a:gd name="connsiteY104" fmla="*/ 2420175 h 3099991"/>
              <a:gd name="connsiteX105" fmla="*/ 2319717 w 7718489"/>
              <a:gd name="connsiteY105" fmla="*/ 2421934 h 3099991"/>
              <a:gd name="connsiteX106" fmla="*/ 2227350 w 7718489"/>
              <a:gd name="connsiteY106" fmla="*/ 2421934 h 3099991"/>
              <a:gd name="connsiteX107" fmla="*/ 2035228 w 7718489"/>
              <a:gd name="connsiteY107" fmla="*/ 3065860 h 3099991"/>
              <a:gd name="connsiteX108" fmla="*/ 1614917 w 7718489"/>
              <a:gd name="connsiteY108" fmla="*/ 3065860 h 3099991"/>
              <a:gd name="connsiteX109" fmla="*/ 1809678 w 7718489"/>
              <a:gd name="connsiteY109" fmla="*/ 2420175 h 3099991"/>
              <a:gd name="connsiteX110" fmla="*/ 1107517 w 7718489"/>
              <a:gd name="connsiteY110" fmla="*/ 2420175 h 3099991"/>
              <a:gd name="connsiteX111" fmla="*/ 1417165 w 7718489"/>
              <a:gd name="connsiteY111" fmla="*/ 3065860 h 3099991"/>
              <a:gd name="connsiteX112" fmla="*/ 952694 w 7718489"/>
              <a:gd name="connsiteY112" fmla="*/ 3065860 h 3099991"/>
              <a:gd name="connsiteX113" fmla="*/ 633722 w 7718489"/>
              <a:gd name="connsiteY113" fmla="*/ 2420175 h 3099991"/>
              <a:gd name="connsiteX114" fmla="*/ 578126 w 7718489"/>
              <a:gd name="connsiteY114" fmla="*/ 2420175 h 3099991"/>
              <a:gd name="connsiteX115" fmla="*/ 384596 w 7718489"/>
              <a:gd name="connsiteY115" fmla="*/ 3065860 h 3099991"/>
              <a:gd name="connsiteX116" fmla="*/ 0 w 7718489"/>
              <a:gd name="connsiteY116" fmla="*/ 3065860 h 3099991"/>
              <a:gd name="connsiteX117" fmla="*/ 437201 w 7718489"/>
              <a:gd name="connsiteY117" fmla="*/ 1607879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18489" h="3099991">
                <a:moveTo>
                  <a:pt x="6058533" y="2420175"/>
                </a:moveTo>
                <a:cubicBezTo>
                  <a:pt x="6061876" y="2669124"/>
                  <a:pt x="6221626" y="2775917"/>
                  <a:pt x="6451222" y="2775917"/>
                </a:cubicBezTo>
                <a:cubicBezTo>
                  <a:pt x="6541125" y="2774668"/>
                  <a:pt x="6630730" y="2765432"/>
                  <a:pt x="6718997" y="2748296"/>
                </a:cubicBezTo>
                <a:lnTo>
                  <a:pt x="6800455" y="2420175"/>
                </a:lnTo>
                <a:close/>
                <a:moveTo>
                  <a:pt x="5035465" y="1789620"/>
                </a:moveTo>
                <a:lnTo>
                  <a:pt x="4672157" y="2360005"/>
                </a:lnTo>
                <a:lnTo>
                  <a:pt x="4912310" y="2360005"/>
                </a:lnTo>
                <a:close/>
                <a:moveTo>
                  <a:pt x="3858453" y="1764813"/>
                </a:moveTo>
                <a:lnTo>
                  <a:pt x="3690962" y="2360005"/>
                </a:lnTo>
                <a:lnTo>
                  <a:pt x="3864435" y="2360005"/>
                </a:lnTo>
                <a:close/>
                <a:moveTo>
                  <a:pt x="2514654" y="1671568"/>
                </a:moveTo>
                <a:cubicBezTo>
                  <a:pt x="2492486" y="1671568"/>
                  <a:pt x="2469438" y="1672623"/>
                  <a:pt x="2445687" y="1672623"/>
                </a:cubicBezTo>
                <a:lnTo>
                  <a:pt x="2392026" y="1874949"/>
                </a:lnTo>
                <a:lnTo>
                  <a:pt x="2369859" y="1961686"/>
                </a:lnTo>
                <a:lnTo>
                  <a:pt x="2322884" y="2135863"/>
                </a:lnTo>
                <a:lnTo>
                  <a:pt x="2424575" y="2135863"/>
                </a:lnTo>
                <a:cubicBezTo>
                  <a:pt x="2441816" y="2135863"/>
                  <a:pt x="2459762" y="2135863"/>
                  <a:pt x="2483161" y="2135863"/>
                </a:cubicBezTo>
                <a:cubicBezTo>
                  <a:pt x="2500931" y="2135863"/>
                  <a:pt x="2516589" y="2133575"/>
                  <a:pt x="2531895" y="2133575"/>
                </a:cubicBezTo>
                <a:lnTo>
                  <a:pt x="2532423" y="2133575"/>
                </a:lnTo>
                <a:cubicBezTo>
                  <a:pt x="2728240" y="2118621"/>
                  <a:pt x="2788938" y="2043848"/>
                  <a:pt x="2837145" y="1896765"/>
                </a:cubicBezTo>
                <a:cubicBezTo>
                  <a:pt x="2865118" y="1811437"/>
                  <a:pt x="2867933" y="1755137"/>
                  <a:pt x="2844358" y="1722589"/>
                </a:cubicBezTo>
                <a:cubicBezTo>
                  <a:pt x="2813393" y="1679308"/>
                  <a:pt x="2728240" y="1671568"/>
                  <a:pt x="2593473" y="1671568"/>
                </a:cubicBezTo>
                <a:close/>
                <a:moveTo>
                  <a:pt x="4208566" y="61049"/>
                </a:moveTo>
                <a:lnTo>
                  <a:pt x="4208566" y="2360885"/>
                </a:lnTo>
                <a:lnTo>
                  <a:pt x="4252198" y="2360885"/>
                </a:lnTo>
                <a:lnTo>
                  <a:pt x="4854779" y="1410830"/>
                </a:lnTo>
                <a:lnTo>
                  <a:pt x="5528086" y="1410830"/>
                </a:lnTo>
                <a:lnTo>
                  <a:pt x="5329102" y="2360005"/>
                </a:lnTo>
                <a:lnTo>
                  <a:pt x="5563097" y="2360005"/>
                </a:lnTo>
                <a:cubicBezTo>
                  <a:pt x="5567865" y="2312924"/>
                  <a:pt x="5576275" y="2266266"/>
                  <a:pt x="5588256" y="2220488"/>
                </a:cubicBezTo>
                <a:cubicBezTo>
                  <a:pt x="5629319" y="2056480"/>
                  <a:pt x="5701348" y="1901815"/>
                  <a:pt x="5800435" y="1764813"/>
                </a:cubicBezTo>
                <a:lnTo>
                  <a:pt x="5801491" y="1435285"/>
                </a:lnTo>
                <a:lnTo>
                  <a:pt x="5800787" y="61049"/>
                </a:lnTo>
                <a:close/>
                <a:moveTo>
                  <a:pt x="2354376" y="61049"/>
                </a:moveTo>
                <a:lnTo>
                  <a:pt x="2354376" y="1408015"/>
                </a:lnTo>
                <a:lnTo>
                  <a:pt x="2671061" y="1408015"/>
                </a:lnTo>
                <a:cubicBezTo>
                  <a:pt x="2861952" y="1408015"/>
                  <a:pt x="3077121" y="1396931"/>
                  <a:pt x="3184442" y="1525364"/>
                </a:cubicBezTo>
                <a:cubicBezTo>
                  <a:pt x="3255872" y="1611749"/>
                  <a:pt x="3271706" y="1726635"/>
                  <a:pt x="3238279" y="1902571"/>
                </a:cubicBezTo>
                <a:cubicBezTo>
                  <a:pt x="3197286" y="2128297"/>
                  <a:pt x="3066389" y="2280306"/>
                  <a:pt x="2851219" y="2360005"/>
                </a:cubicBezTo>
                <a:lnTo>
                  <a:pt x="3273466" y="2360005"/>
                </a:lnTo>
                <a:lnTo>
                  <a:pt x="3546695" y="1408543"/>
                </a:lnTo>
                <a:lnTo>
                  <a:pt x="3944662" y="1408543"/>
                </a:lnTo>
                <a:lnTo>
                  <a:pt x="3944662" y="61049"/>
                </a:lnTo>
                <a:close/>
                <a:moveTo>
                  <a:pt x="498603" y="61049"/>
                </a:moveTo>
                <a:lnTo>
                  <a:pt x="498603" y="1410830"/>
                </a:lnTo>
                <a:lnTo>
                  <a:pt x="881440" y="1410830"/>
                </a:lnTo>
                <a:lnTo>
                  <a:pt x="676826" y="2091351"/>
                </a:lnTo>
                <a:lnTo>
                  <a:pt x="1308612" y="1412062"/>
                </a:lnTo>
                <a:lnTo>
                  <a:pt x="1827624" y="1412062"/>
                </a:lnTo>
                <a:lnTo>
                  <a:pt x="1019725" y="2237729"/>
                </a:lnTo>
                <a:lnTo>
                  <a:pt x="1078312" y="2360885"/>
                </a:lnTo>
                <a:lnTo>
                  <a:pt x="1827624" y="2360885"/>
                </a:lnTo>
                <a:lnTo>
                  <a:pt x="1836596" y="2333966"/>
                </a:lnTo>
                <a:lnTo>
                  <a:pt x="2064434" y="1575506"/>
                </a:lnTo>
                <a:lnTo>
                  <a:pt x="2089416" y="1492992"/>
                </a:lnTo>
                <a:lnTo>
                  <a:pt x="2089416" y="61049"/>
                </a:lnTo>
                <a:close/>
                <a:moveTo>
                  <a:pt x="6065395" y="60698"/>
                </a:moveTo>
                <a:lnTo>
                  <a:pt x="6065395" y="1503372"/>
                </a:lnTo>
                <a:cubicBezTo>
                  <a:pt x="6304668" y="1347317"/>
                  <a:pt x="6581591" y="1317056"/>
                  <a:pt x="6770898" y="1317056"/>
                </a:cubicBezTo>
                <a:cubicBezTo>
                  <a:pt x="7037265" y="1317056"/>
                  <a:pt x="7242406" y="1373884"/>
                  <a:pt x="7344274" y="1514632"/>
                </a:cubicBezTo>
                <a:cubicBezTo>
                  <a:pt x="7434353" y="1644649"/>
                  <a:pt x="7402860" y="1785926"/>
                  <a:pt x="7383859" y="1868792"/>
                </a:cubicBezTo>
                <a:lnTo>
                  <a:pt x="6906017" y="1868792"/>
                </a:lnTo>
                <a:cubicBezTo>
                  <a:pt x="6923434" y="1691096"/>
                  <a:pt x="6795705" y="1642186"/>
                  <a:pt x="6667272" y="1642186"/>
                </a:cubicBezTo>
                <a:cubicBezTo>
                  <a:pt x="6342669" y="1642186"/>
                  <a:pt x="6154418" y="1924739"/>
                  <a:pt x="6084044" y="2210811"/>
                </a:cubicBezTo>
                <a:cubicBezTo>
                  <a:pt x="6076479" y="2244239"/>
                  <a:pt x="6071376" y="2275556"/>
                  <a:pt x="6065395" y="2305465"/>
                </a:cubicBezTo>
                <a:lnTo>
                  <a:pt x="6065395" y="2360005"/>
                </a:lnTo>
                <a:lnTo>
                  <a:pt x="6453685" y="2360005"/>
                </a:lnTo>
                <a:lnTo>
                  <a:pt x="6519837" y="2094693"/>
                </a:lnTo>
                <a:lnTo>
                  <a:pt x="7322633" y="2094693"/>
                </a:lnTo>
                <a:lnTo>
                  <a:pt x="7257009" y="2360005"/>
                </a:lnTo>
                <a:lnTo>
                  <a:pt x="7658671" y="2360005"/>
                </a:lnTo>
                <a:lnTo>
                  <a:pt x="7657967" y="60698"/>
                </a:lnTo>
                <a:close/>
                <a:moveTo>
                  <a:pt x="437201" y="0"/>
                </a:moveTo>
                <a:lnTo>
                  <a:pt x="2151170" y="0"/>
                </a:lnTo>
                <a:lnTo>
                  <a:pt x="2151170" y="1410830"/>
                </a:lnTo>
                <a:lnTo>
                  <a:pt x="2292974" y="1410830"/>
                </a:lnTo>
                <a:lnTo>
                  <a:pt x="2292974" y="0"/>
                </a:lnTo>
                <a:lnTo>
                  <a:pt x="4006767" y="0"/>
                </a:lnTo>
                <a:lnTo>
                  <a:pt x="4006767" y="1408543"/>
                </a:lnTo>
                <a:lnTo>
                  <a:pt x="4148748" y="1408543"/>
                </a:lnTo>
                <a:lnTo>
                  <a:pt x="4148748" y="0"/>
                </a:lnTo>
                <a:lnTo>
                  <a:pt x="5862013" y="0"/>
                </a:lnTo>
                <a:lnTo>
                  <a:pt x="5862013" y="1684411"/>
                </a:lnTo>
                <a:cubicBezTo>
                  <a:pt x="5905345" y="1634234"/>
                  <a:pt x="5953218" y="1588174"/>
                  <a:pt x="6005048" y="1546829"/>
                </a:cubicBezTo>
                <a:lnTo>
                  <a:pt x="6005048" y="0"/>
                </a:lnTo>
                <a:lnTo>
                  <a:pt x="7718489" y="0"/>
                </a:lnTo>
                <a:lnTo>
                  <a:pt x="7718489" y="2420175"/>
                </a:lnTo>
                <a:lnTo>
                  <a:pt x="7242406" y="2420175"/>
                </a:lnTo>
                <a:lnTo>
                  <a:pt x="7097963" y="3004810"/>
                </a:lnTo>
                <a:cubicBezTo>
                  <a:pt x="6843929" y="3064980"/>
                  <a:pt x="6584019" y="3096913"/>
                  <a:pt x="6322965" y="3099991"/>
                </a:cubicBezTo>
                <a:cubicBezTo>
                  <a:pt x="6139112" y="3099991"/>
                  <a:pt x="5891218" y="3071490"/>
                  <a:pt x="5729357" y="2923000"/>
                </a:cubicBezTo>
                <a:cubicBezTo>
                  <a:pt x="5597053" y="2801076"/>
                  <a:pt x="5546031" y="2619686"/>
                  <a:pt x="5555532" y="2420175"/>
                </a:cubicBezTo>
                <a:lnTo>
                  <a:pt x="5314324" y="2420175"/>
                </a:lnTo>
                <a:lnTo>
                  <a:pt x="5178853" y="3064101"/>
                </a:lnTo>
                <a:lnTo>
                  <a:pt x="4761709" y="3064101"/>
                </a:lnTo>
                <a:lnTo>
                  <a:pt x="4899466" y="2420175"/>
                </a:lnTo>
                <a:lnTo>
                  <a:pt x="4632396" y="2420175"/>
                </a:lnTo>
                <a:lnTo>
                  <a:pt x="4224576" y="3064101"/>
                </a:lnTo>
                <a:lnTo>
                  <a:pt x="3869009" y="3064101"/>
                </a:lnTo>
                <a:lnTo>
                  <a:pt x="3863907" y="2420175"/>
                </a:lnTo>
                <a:lnTo>
                  <a:pt x="3673193" y="2420175"/>
                </a:lnTo>
                <a:lnTo>
                  <a:pt x="3493562" y="3064101"/>
                </a:lnTo>
                <a:lnTo>
                  <a:pt x="3069732" y="3064101"/>
                </a:lnTo>
                <a:lnTo>
                  <a:pt x="3255345" y="2420175"/>
                </a:lnTo>
                <a:lnTo>
                  <a:pt x="2319717" y="2420175"/>
                </a:lnTo>
                <a:lnTo>
                  <a:pt x="2319717" y="2421934"/>
                </a:lnTo>
                <a:lnTo>
                  <a:pt x="2227350" y="2421934"/>
                </a:lnTo>
                <a:lnTo>
                  <a:pt x="2035228" y="3065860"/>
                </a:lnTo>
                <a:lnTo>
                  <a:pt x="1614917" y="3065860"/>
                </a:lnTo>
                <a:lnTo>
                  <a:pt x="1809678" y="2420175"/>
                </a:lnTo>
                <a:lnTo>
                  <a:pt x="1107517" y="2420175"/>
                </a:lnTo>
                <a:lnTo>
                  <a:pt x="1417165" y="3065860"/>
                </a:lnTo>
                <a:lnTo>
                  <a:pt x="952694" y="3065860"/>
                </a:lnTo>
                <a:lnTo>
                  <a:pt x="633722" y="2420175"/>
                </a:lnTo>
                <a:lnTo>
                  <a:pt x="578126" y="2420175"/>
                </a:lnTo>
                <a:lnTo>
                  <a:pt x="384596" y="3065860"/>
                </a:lnTo>
                <a:lnTo>
                  <a:pt x="0" y="3065860"/>
                </a:lnTo>
                <a:lnTo>
                  <a:pt x="437201" y="160787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017995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FABFCD1-5785-4AFC-8DA5-9971CBE35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946" b="1946"/>
          <a:stretch/>
        </p:blipFill>
        <p:spPr>
          <a:xfrm>
            <a:off x="0" y="-1"/>
            <a:ext cx="9906000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C1D1989-8373-4A6D-9533-37075802AD89}"/>
              </a:ext>
            </a:extLst>
          </p:cNvPr>
          <p:cNvSpPr/>
          <p:nvPr userDrawn="1"/>
        </p:nvSpPr>
        <p:spPr>
          <a:xfrm>
            <a:off x="0" y="-1"/>
            <a:ext cx="5169685" cy="6858001"/>
          </a:xfrm>
          <a:prstGeom prst="rect">
            <a:avLst/>
          </a:prstGeom>
          <a:gradFill>
            <a:gsLst>
              <a:gs pos="0">
                <a:srgbClr val="7213EA">
                  <a:alpha val="43000"/>
                </a:srgbClr>
              </a:gs>
              <a:gs pos="100000">
                <a:srgbClr val="1F4AE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371" tIns="44371" rIns="44371" bIns="44371" rtlCol="0" anchor="ctr"/>
          <a:lstStyle/>
          <a:p>
            <a:pPr algn="l"/>
            <a:endParaRPr lang="en-GB" sz="1219" dirty="0" err="1">
              <a:solidFill>
                <a:schemeClr val="bg1"/>
              </a:solidFill>
            </a:endParaRP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65B88E-59B6-4300-A6A5-FE6907AB6F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raphic 6">
            <a:extLst>
              <a:ext uri="{FF2B5EF4-FFF2-40B4-BE49-F238E27FC236}">
                <a16:creationId xmlns:a16="http://schemas.microsoft.com/office/drawing/2014/main" id="{ED1A19EE-224F-4C0C-A670-C9BBCD8540D6}"/>
              </a:ext>
            </a:extLst>
          </p:cNvPr>
          <p:cNvSpPr/>
          <p:nvPr userDrawn="1"/>
        </p:nvSpPr>
        <p:spPr>
          <a:xfrm>
            <a:off x="1815883" y="1882444"/>
            <a:ext cx="6271272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rgbClr val="FCEAE7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667260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6">
            <a:extLst>
              <a:ext uri="{FF2B5EF4-FFF2-40B4-BE49-F238E27FC236}">
                <a16:creationId xmlns:a16="http://schemas.microsoft.com/office/drawing/2014/main" id="{248485D9-C9C0-4687-AA25-7A69FB015CB9}"/>
              </a:ext>
            </a:extLst>
          </p:cNvPr>
          <p:cNvSpPr/>
          <p:nvPr/>
        </p:nvSpPr>
        <p:spPr>
          <a:xfrm>
            <a:off x="1815883" y="1882444"/>
            <a:ext cx="6271272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chemeClr val="bg1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65B88E-59B6-4300-A6A5-FE6907AB6F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72648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285C4F2-66B1-4798-82AE-D4F04D677D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12" b="11877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Graphic 6">
            <a:extLst>
              <a:ext uri="{FF2B5EF4-FFF2-40B4-BE49-F238E27FC236}">
                <a16:creationId xmlns:a16="http://schemas.microsoft.com/office/drawing/2014/main" id="{248485D9-C9C0-4687-AA25-7A69FB015CB9}"/>
              </a:ext>
            </a:extLst>
          </p:cNvPr>
          <p:cNvSpPr/>
          <p:nvPr/>
        </p:nvSpPr>
        <p:spPr>
          <a:xfrm>
            <a:off x="1815883" y="1882444"/>
            <a:ext cx="6271272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rgbClr val="4835F3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65B88E-59B6-4300-A6A5-FE6907AB6F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3394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FINAL SLIDE">
    <p:bg>
      <p:bgPr>
        <a:gradFill>
          <a:gsLst>
            <a:gs pos="0">
              <a:srgbClr val="00B8F5"/>
            </a:gs>
            <a:gs pos="100000">
              <a:srgbClr val="ACE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6">
            <a:extLst>
              <a:ext uri="{FF2B5EF4-FFF2-40B4-BE49-F238E27FC236}">
                <a16:creationId xmlns:a16="http://schemas.microsoft.com/office/drawing/2014/main" id="{248485D9-C9C0-4687-AA25-7A69FB015CB9}"/>
              </a:ext>
            </a:extLst>
          </p:cNvPr>
          <p:cNvSpPr/>
          <p:nvPr/>
        </p:nvSpPr>
        <p:spPr>
          <a:xfrm>
            <a:off x="1815883" y="1882444"/>
            <a:ext cx="6271272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chemeClr val="accent2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463"/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4FB16981-6B82-4675-8BD2-16F7F9ECDD53}"/>
              </a:ext>
            </a:extLst>
          </p:cNvPr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FD7771-E391-4914-AD47-57F13F654E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286332" y="6295537"/>
            <a:ext cx="1516288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8" b="0" kern="120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ocument Classification: KPMG Public</a:t>
            </a:r>
            <a:endParaRPr lang="en-GB" sz="488" b="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Freeform 19">
            <a:extLst>
              <a:ext uri="{FF2B5EF4-FFF2-40B4-BE49-F238E27FC236}">
                <a16:creationId xmlns:a16="http://schemas.microsoft.com/office/drawing/2014/main" id="{5D4B1157-B5C0-4AD9-BA1D-B6C821264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101" y="6266998"/>
            <a:ext cx="393274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8B8CBB-ED87-4C39-9AC3-A1B4F02BEE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32119" y="6266998"/>
            <a:ext cx="3756241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8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1DF9C6-DFC5-4AB2-833E-C58C8F901A0B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9398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99527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1960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Relationship Id="rId6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3" Type="http://schemas.openxmlformats.org/officeDocument/2006/relationships/slideLayout" Target="../slideLayouts/slideLayout66.xml"/><Relationship Id="rId58" Type="http://schemas.openxmlformats.org/officeDocument/2006/relationships/slideLayout" Target="../slideLayouts/slideLayout71.xml"/><Relationship Id="rId5" Type="http://schemas.openxmlformats.org/officeDocument/2006/relationships/slideLayout" Target="../slideLayouts/slideLayout18.xml"/><Relationship Id="rId61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56" Type="http://schemas.openxmlformats.org/officeDocument/2006/relationships/slideLayout" Target="../slideLayouts/slideLayout69.xml"/><Relationship Id="rId64" Type="http://schemas.openxmlformats.org/officeDocument/2006/relationships/theme" Target="../theme/theme2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59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54" Type="http://schemas.openxmlformats.org/officeDocument/2006/relationships/slideLayout" Target="../slideLayouts/slideLayout67.xml"/><Relationship Id="rId6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49" Type="http://schemas.openxmlformats.org/officeDocument/2006/relationships/slideLayout" Target="../slideLayouts/slideLayout62.xml"/><Relationship Id="rId57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52" Type="http://schemas.openxmlformats.org/officeDocument/2006/relationships/slideLayout" Target="../slideLayouts/slideLayout65.xml"/><Relationship Id="rId6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2E0F04-318F-4CA6-82E4-A4B550470DEA}" type="datetimeFigureOut">
              <a:rPr lang="ru-RU" smtClean="0"/>
              <a:t>21.0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3D99BC-1EA5-46D3-9E2F-A3CBFD63F0A1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039BEAA-CD94-4572-9DE8-EBD769C89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88330538"/>
              </p:ext>
            </p:extLst>
          </p:nvPr>
        </p:nvGraphicFramePr>
        <p:xfrm>
          <a:off x="2294" y="1192"/>
          <a:ext cx="2294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06" imgH="306" progId="TCLayout.ActiveDocument.1">
                  <p:embed/>
                </p:oleObj>
              </mc:Choice>
              <mc:Fallback>
                <p:oleObj name="Слайд think-cell" r:id="rId16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39BEAA-CD94-4572-9DE8-EBD769C89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294" y="1192"/>
                        <a:ext cx="2294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30714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3" r:id="rId12"/>
    <p:sldLayoutId id="214748373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1200" y="431800"/>
            <a:ext cx="82836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5101" y="1330126"/>
            <a:ext cx="8283007" cy="454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8894118" y="6266997"/>
            <a:ext cx="19702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13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13" dirty="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8879445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27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  <p:sldLayoutId id="2147483766" r:id="rId31"/>
    <p:sldLayoutId id="2147483767" r:id="rId32"/>
    <p:sldLayoutId id="2147483768" r:id="rId33"/>
    <p:sldLayoutId id="2147483769" r:id="rId34"/>
    <p:sldLayoutId id="2147483770" r:id="rId35"/>
    <p:sldLayoutId id="2147483771" r:id="rId36"/>
    <p:sldLayoutId id="2147483772" r:id="rId37"/>
    <p:sldLayoutId id="2147483773" r:id="rId38"/>
    <p:sldLayoutId id="2147483774" r:id="rId39"/>
    <p:sldLayoutId id="2147483775" r:id="rId40"/>
    <p:sldLayoutId id="2147483776" r:id="rId41"/>
    <p:sldLayoutId id="2147483777" r:id="rId42"/>
    <p:sldLayoutId id="2147483778" r:id="rId43"/>
    <p:sldLayoutId id="2147483779" r:id="rId44"/>
    <p:sldLayoutId id="2147483780" r:id="rId45"/>
    <p:sldLayoutId id="2147483781" r:id="rId46"/>
    <p:sldLayoutId id="2147483782" r:id="rId47"/>
    <p:sldLayoutId id="2147483783" r:id="rId48"/>
    <p:sldLayoutId id="2147483784" r:id="rId49"/>
    <p:sldLayoutId id="2147483785" r:id="rId50"/>
    <p:sldLayoutId id="2147483786" r:id="rId51"/>
    <p:sldLayoutId id="2147483787" r:id="rId52"/>
    <p:sldLayoutId id="2147483788" r:id="rId53"/>
    <p:sldLayoutId id="2147483789" r:id="rId54"/>
    <p:sldLayoutId id="2147483790" r:id="rId55"/>
    <p:sldLayoutId id="2147483791" r:id="rId56"/>
    <p:sldLayoutId id="2147483792" r:id="rId57"/>
    <p:sldLayoutId id="2147483793" r:id="rId58"/>
    <p:sldLayoutId id="2147483794" r:id="rId59"/>
    <p:sldLayoutId id="2147483795" r:id="rId60"/>
    <p:sldLayoutId id="2147483796" r:id="rId61"/>
    <p:sldLayoutId id="2147483797" r:id="rId62"/>
    <p:sldLayoutId id="2147483798" r:id="rId63"/>
  </p:sldLayoutIdLst>
  <p:txStyles>
    <p:titleStyle>
      <a:lvl1pPr algn="l" defTabSz="742950" rtl="0" eaLnBrk="1" latinLnBrk="0" hangingPunct="1">
        <a:lnSpc>
          <a:spcPct val="70000"/>
        </a:lnSpc>
        <a:spcBef>
          <a:spcPct val="0"/>
        </a:spcBef>
        <a:buNone/>
        <a:defRPr sz="3575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Tx/>
        <a:buNone/>
        <a:defRPr sz="1219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Tx/>
        <a:buNone/>
        <a:defRPr sz="1219" kern="1200">
          <a:solidFill>
            <a:schemeClr val="accent2"/>
          </a:solidFill>
          <a:latin typeface="+mn-lt"/>
          <a:ea typeface="+mn-ea"/>
          <a:cs typeface="+mn-cs"/>
        </a:defRPr>
      </a:lvl2pPr>
      <a:lvl3pPr marL="147042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ClrTx/>
        <a:buFont typeface="Arial" panose="020B0604020202020204" pitchFamily="34" charset="0"/>
        <a:buChar char="•"/>
        <a:defRPr sz="1219" kern="1200">
          <a:solidFill>
            <a:schemeClr val="accent2"/>
          </a:solidFill>
          <a:latin typeface="+mn-lt"/>
          <a:ea typeface="+mn-ea"/>
          <a:cs typeface="+mn-cs"/>
        </a:defRPr>
      </a:lvl3pPr>
      <a:lvl4pPr marL="294084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ClrTx/>
        <a:buFont typeface="Arial" panose="020B0604020202020204" pitchFamily="34" charset="0"/>
        <a:buChar char="-"/>
        <a:defRPr sz="1219" kern="1200">
          <a:solidFill>
            <a:schemeClr val="accent2"/>
          </a:solidFill>
          <a:latin typeface="+mn-lt"/>
          <a:ea typeface="+mn-ea"/>
          <a:cs typeface="+mn-cs"/>
        </a:defRPr>
      </a:lvl4pPr>
      <a:lvl5pPr marL="441127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ClrTx/>
        <a:buFont typeface="Arial" panose="020B0604020202020204" pitchFamily="34" charset="0"/>
        <a:buChar char="•"/>
        <a:defRPr sz="1219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584300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Clr>
          <a:schemeClr val="tx2"/>
        </a:buClr>
        <a:buFont typeface="Arial" panose="020B0604020202020204" pitchFamily="34" charset="0"/>
        <a:buChar char="-"/>
        <a:defRPr sz="1219" kern="1200">
          <a:solidFill>
            <a:schemeClr val="tx2"/>
          </a:solidFill>
          <a:latin typeface="+mn-lt"/>
          <a:ea typeface="+mn-ea"/>
          <a:cs typeface="+mn-cs"/>
        </a:defRPr>
      </a:lvl6pPr>
      <a:lvl7pPr marL="728762" indent="-144463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Clr>
          <a:schemeClr val="tx2"/>
        </a:buClr>
        <a:buFont typeface="Arial" panose="020B0604020202020204" pitchFamily="34" charset="0"/>
        <a:buChar char="•"/>
        <a:defRPr sz="1219" kern="1200">
          <a:solidFill>
            <a:schemeClr val="tx2"/>
          </a:solidFill>
          <a:latin typeface="+mn-lt"/>
          <a:ea typeface="+mn-ea"/>
          <a:cs typeface="+mn-cs"/>
        </a:defRPr>
      </a:lvl7pPr>
      <a:lvl8pPr marL="873225" indent="-144463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Clr>
          <a:schemeClr val="tx2"/>
        </a:buClr>
        <a:buFont typeface="Arial" panose="020B0604020202020204" pitchFamily="34" charset="0"/>
        <a:buChar char="-"/>
        <a:defRPr sz="1219" kern="1200">
          <a:solidFill>
            <a:schemeClr val="tx2"/>
          </a:solidFill>
          <a:latin typeface="+mn-lt"/>
          <a:ea typeface="+mn-ea"/>
          <a:cs typeface="+mn-cs"/>
        </a:defRPr>
      </a:lvl8pPr>
      <a:lvl9pPr marL="1021556" indent="-148332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219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  <p15:guide id="7" orient="horz" pos="37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6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7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10" Type="http://schemas.openxmlformats.org/officeDocument/2006/relationships/chart" Target="../charts/chart5.xml"/><Relationship Id="rId4" Type="http://schemas.openxmlformats.org/officeDocument/2006/relationships/oleObject" Target="../embeddings/oleObject2.bin"/><Relationship Id="rId9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8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9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336FC-43B7-4EAC-9103-59F0A1FC91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4388" dirty="0">
                <a:latin typeface="Corbel" panose="020B0503020204020204" pitchFamily="34" charset="0"/>
              </a:rPr>
              <a:t>Обзор мировых и финансовых рынков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C43DE8-54BA-4BFB-9582-892BB0C9CD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48011" y="4897422"/>
            <a:ext cx="4267575" cy="258532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>
                <a:latin typeface="Corbel" panose="020B0503020204020204" pitchFamily="34" charset="0"/>
              </a:rPr>
              <a:t>20 </a:t>
            </a:r>
            <a:r>
              <a:rPr lang="uz-Cyrl-UZ" sz="1200" dirty="0">
                <a:latin typeface="Corbel" panose="020B0503020204020204" pitchFamily="34" charset="0"/>
              </a:rPr>
              <a:t>январь</a:t>
            </a:r>
            <a:r>
              <a:rPr lang="ru-RU" sz="1200" dirty="0">
                <a:latin typeface="Corbel" panose="020B0503020204020204" pitchFamily="34" charset="0"/>
              </a:rPr>
              <a:t>, 2025 год</a:t>
            </a:r>
            <a:endParaRPr lang="en-GB" sz="1200" dirty="0">
              <a:latin typeface="Corbel" panose="020B0503020204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03F48A0-C6BE-4319-8477-A8228F9CCAE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5372" y="2321805"/>
            <a:ext cx="1182625" cy="42139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11E3957-4954-49DB-9D85-1EE2D53AA906}"/>
              </a:ext>
            </a:extLst>
          </p:cNvPr>
          <p:cNvSpPr txBox="1"/>
          <p:nvPr/>
        </p:nvSpPr>
        <p:spPr>
          <a:xfrm>
            <a:off x="6643394" y="2997427"/>
            <a:ext cx="32626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Corbel" panose="020B0503020204020204" pitchFamily="34" charset="0"/>
              </a:rPr>
              <a:t>Департамент стратегического </a:t>
            </a:r>
            <a:b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Corbel" panose="020B0503020204020204" pitchFamily="34" charset="0"/>
              </a:rPr>
            </a:b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Corbel" panose="020B0503020204020204" pitchFamily="34" charset="0"/>
              </a:rPr>
              <a:t>развития банка</a:t>
            </a:r>
            <a:endParaRPr lang="en-US" sz="1600" dirty="0">
              <a:solidFill>
                <a:schemeClr val="tx1">
                  <a:lumMod val="90000"/>
                  <a:lumOff val="10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318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508480-60D9-46BA-551F-B4F554A92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864421" y="643905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08480-60D9-46BA-551F-B4F554A92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64421" y="643905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8A6FDBF-79A0-4289-AF13-A626E9C89DD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455"/>
          <a:stretch/>
        </p:blipFill>
        <p:spPr>
          <a:xfrm>
            <a:off x="1266566" y="5401894"/>
            <a:ext cx="458367" cy="356787"/>
          </a:xfrm>
          <a:prstGeom prst="rect">
            <a:avLst/>
          </a:prstGeom>
        </p:spPr>
      </p:pic>
      <p:pic>
        <p:nvPicPr>
          <p:cNvPr id="21" name="Picture 10" descr="National Bank for Foreign Economic Activity of the Republic of Uzbekistan -  The Central Bank of the Republic of Uzbekistan">
            <a:extLst>
              <a:ext uri="{FF2B5EF4-FFF2-40B4-BE49-F238E27FC236}">
                <a16:creationId xmlns:a16="http://schemas.microsoft.com/office/drawing/2014/main" id="{542D4C53-F49C-49BD-ACB8-C9097EF984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95" r="39422" b="22133"/>
          <a:stretch/>
        </p:blipFill>
        <p:spPr bwMode="auto">
          <a:xfrm>
            <a:off x="2689434" y="5291390"/>
            <a:ext cx="426343" cy="467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92F7036-75E3-48C1-ABDF-4CD36F8475B0}"/>
              </a:ext>
            </a:extLst>
          </p:cNvPr>
          <p:cNvSpPr txBox="1"/>
          <p:nvPr/>
        </p:nvSpPr>
        <p:spPr>
          <a:xfrm>
            <a:off x="6233021" y="855905"/>
            <a:ext cx="3545198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136" indent="-174136" algn="just">
              <a:buFont typeface="Wingdings" panose="05000000000000000000" pitchFamily="2" charset="2"/>
              <a:buChar char="Ø"/>
            </a:pP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Летом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2024</a:t>
            </a: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 года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QB</a:t>
            </a: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 разместил международные облигации на Лондонской фондовой биржи. В первый день торгов доходность составляла 9,362%.</a:t>
            </a:r>
          </a:p>
          <a:p>
            <a:pPr marL="174136" indent="-174136" algn="just">
              <a:buFont typeface="Wingdings" panose="05000000000000000000" pitchFamily="2" charset="2"/>
              <a:buChar char="Ø"/>
            </a:pPr>
            <a:endParaRPr lang="ru-RU" sz="11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174136" indent="-174136" algn="just">
              <a:buFont typeface="Wingdings" panose="05000000000000000000" pitchFamily="2" charset="2"/>
              <a:buChar char="Ø"/>
            </a:pPr>
            <a:r>
              <a:rPr lang="uz-Cyrl-UZ" sz="1100" dirty="0">
                <a:solidFill>
                  <a:schemeClr val="accent6"/>
                </a:solidFill>
                <a:latin typeface="Corbel" panose="020B0503020204020204" pitchFamily="34" charset="0"/>
              </a:rPr>
              <a:t>В прошлой неделе </a:t>
            </a:r>
            <a:r>
              <a:rPr lang="ru-RU" sz="1100" dirty="0">
                <a:solidFill>
                  <a:schemeClr val="accent6"/>
                </a:solidFill>
                <a:latin typeface="Corbel" panose="020B0503020204020204" pitchFamily="34" charset="0"/>
              </a:rPr>
              <a:t>доходность евробондов началась </a:t>
            </a:r>
            <a:r>
              <a:rPr lang="uz-Cyrl-UZ" sz="1100" dirty="0">
                <a:solidFill>
                  <a:schemeClr val="accent6"/>
                </a:solidFill>
                <a:latin typeface="Corbel" panose="020B0503020204020204" pitchFamily="34" charset="0"/>
              </a:rPr>
              <a:t>снижаться, после </a:t>
            </a:r>
            <a:r>
              <a:rPr lang="ru-RU" sz="1100" dirty="0">
                <a:solidFill>
                  <a:schemeClr val="accent6"/>
                </a:solidFill>
                <a:latin typeface="Corbel" panose="020B0503020204020204" pitchFamily="34" charset="0"/>
              </a:rPr>
              <a:t>повышения в начале января (8,63%). Доходность снижалась до 8,54%, в конце недели она составила </a:t>
            </a:r>
            <a:r>
              <a:rPr lang="ru-RU" sz="1100" b="1" dirty="0">
                <a:solidFill>
                  <a:schemeClr val="accent6"/>
                </a:solidFill>
                <a:latin typeface="Corbel" panose="020B0503020204020204" pitchFamily="34" charset="0"/>
              </a:rPr>
              <a:t>8,59</a:t>
            </a:r>
            <a:r>
              <a:rPr lang="ru-RU" sz="1100" dirty="0">
                <a:solidFill>
                  <a:schemeClr val="accent6"/>
                </a:solidFill>
                <a:latin typeface="Corbel" panose="020B0503020204020204" pitchFamily="34" charset="0"/>
              </a:rPr>
              <a:t>%.</a:t>
            </a:r>
            <a:r>
              <a:rPr lang="uz-Cyrl-UZ" sz="1100" dirty="0">
                <a:solidFill>
                  <a:schemeClr val="accent6"/>
                </a:solidFill>
                <a:latin typeface="Corbel" panose="020B0503020204020204" pitchFamily="34" charset="0"/>
              </a:rPr>
              <a:t>  </a:t>
            </a:r>
            <a:r>
              <a:rPr lang="ru-RU" sz="1100" dirty="0">
                <a:solidFill>
                  <a:schemeClr val="accent6"/>
                </a:solidFill>
                <a:latin typeface="Corbel" panose="020B0503020204020204" pitchFamily="34" charset="0"/>
              </a:rPr>
              <a:t>Если говорить об ожиданиях, согласно текущему тренду к концу года доходность евробондов SQB может составить </a:t>
            </a:r>
            <a:r>
              <a:rPr lang="ru-RU" sz="1100" b="1" dirty="0">
                <a:solidFill>
                  <a:schemeClr val="accent6"/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8,4 </a:t>
            </a:r>
            <a:r>
              <a:rPr lang="ru-RU" sz="1100" dirty="0">
                <a:solidFill>
                  <a:schemeClr val="accent6"/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- </a:t>
            </a:r>
            <a:r>
              <a:rPr lang="ru-RU" sz="1100" b="1" dirty="0">
                <a:solidFill>
                  <a:schemeClr val="accent6"/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8,8</a:t>
            </a:r>
            <a:r>
              <a:rPr lang="ru-RU" sz="1100" dirty="0">
                <a:solidFill>
                  <a:schemeClr val="accent6"/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%. </a:t>
            </a:r>
          </a:p>
          <a:p>
            <a:pPr algn="just"/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Corbel" panose="020B0503020204020204" pitchFamily="34" charset="0"/>
            </a:endParaRPr>
          </a:p>
          <a:p>
            <a:pPr marL="174136" indent="-174136" algn="just">
              <a:buFont typeface="Wingdings" panose="05000000000000000000" pitchFamily="2" charset="2"/>
              <a:buChar char="Ø"/>
            </a:pP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Доходность евробондов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NBU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 оставалась стабильной на прошлой неделе, после незначительного снижения. Доходность находилась около </a:t>
            </a:r>
            <a:r>
              <a:rPr lang="ru-RU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7,9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%, в прошлой неделе. По нашим прогнозам, исходя из текущего поведения к концу года доходность может достигнуть </a:t>
            </a:r>
            <a:b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</a:b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7,8%-8,16%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.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FFFFFF"/>
              </a:highlight>
              <a:latin typeface="Corbel" panose="020B0503020204020204" pitchFamily="34" charset="0"/>
            </a:endParaRPr>
          </a:p>
          <a:p>
            <a:pPr algn="just"/>
            <a:endParaRPr lang="ru-RU" sz="1100" dirty="0">
              <a:latin typeface="Corbel" panose="020B0503020204020204" pitchFamily="34" charset="0"/>
            </a:endParaRPr>
          </a:p>
          <a:p>
            <a:pPr marL="174136" indent="-174136" algn="just">
              <a:buFont typeface="Wingdings" panose="05000000000000000000" pitchFamily="2" charset="2"/>
              <a:buChar char="Ø"/>
            </a:pP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В прошлой неделе евробонды </a:t>
            </a:r>
            <a:r>
              <a:rPr lang="en-US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Ipotekabank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незначительно колебались около 7,39%-7,43%. </a:t>
            </a:r>
            <a:b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</a:b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К концу недели доходность достигла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7,41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%. По нашим ожиданиям концу года доходность составит</a:t>
            </a:r>
            <a:r>
              <a:rPr lang="ru-RU" sz="1100" dirty="0">
                <a:solidFill>
                  <a:schemeClr val="accent5"/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 6,3%-7,6%.</a:t>
            </a:r>
          </a:p>
          <a:p>
            <a:pPr marL="174136" indent="-174136" algn="just">
              <a:buFont typeface="Wingdings" panose="05000000000000000000" pitchFamily="2" charset="2"/>
              <a:buChar char="Ø"/>
            </a:pPr>
            <a:endParaRPr lang="ru-RU" sz="1100" dirty="0">
              <a:solidFill>
                <a:srgbClr val="00B050"/>
              </a:solidFill>
              <a:latin typeface="Corbel" panose="020B0503020204020204" pitchFamily="34" charset="0"/>
            </a:endParaRPr>
          </a:p>
          <a:p>
            <a:pPr marL="174136" indent="-174136" algn="just">
              <a:buFont typeface="Wingdings" panose="05000000000000000000" pitchFamily="2" charset="2"/>
              <a:buChar char="Ø"/>
            </a:pPr>
            <a:r>
              <a:rPr lang="ru-RU" sz="1100" b="1" dirty="0">
                <a:latin typeface="Corbel" panose="020B0503020204020204" pitchFamily="34" charset="0"/>
              </a:rPr>
              <a:t>Для</a:t>
            </a:r>
            <a:r>
              <a:rPr lang="ru-RU" sz="1100" dirty="0">
                <a:latin typeface="Corbel" panose="020B0503020204020204" pitchFamily="34" charset="0"/>
              </a:rPr>
              <a:t> </a:t>
            </a:r>
            <a:r>
              <a:rPr lang="ru-RU" sz="1100" b="1" dirty="0">
                <a:latin typeface="Corbel" panose="020B0503020204020204" pitchFamily="34" charset="0"/>
              </a:rPr>
              <a:t>заметки</a:t>
            </a:r>
            <a:r>
              <a:rPr lang="ru-RU" sz="1100" dirty="0">
                <a:latin typeface="Corbel" panose="020B0503020204020204" pitchFamily="34" charset="0"/>
              </a:rPr>
              <a:t>: доходность </a:t>
            </a:r>
            <a:r>
              <a:rPr lang="uz-Cyrl-UZ" sz="1100" dirty="0">
                <a:latin typeface="Corbel" panose="020B0503020204020204" pitchFamily="34" charset="0"/>
              </a:rPr>
              <a:t>евробондов раньше находилась в районе </a:t>
            </a:r>
            <a:r>
              <a:rPr lang="uz-Cyrl-UZ" sz="1100" b="1" dirty="0">
                <a:highlight>
                  <a:srgbClr val="FFFFFF"/>
                </a:highlight>
                <a:latin typeface="Corbel" panose="020B0503020204020204" pitchFamily="34" charset="0"/>
              </a:rPr>
              <a:t>6-6,5%</a:t>
            </a:r>
            <a:r>
              <a:rPr lang="uz-Cyrl-UZ" sz="1100" dirty="0">
                <a:highlight>
                  <a:srgbClr val="FFFFFF"/>
                </a:highlight>
                <a:latin typeface="Corbel" panose="020B0503020204020204" pitchFamily="34" charset="0"/>
              </a:rPr>
              <a:t>, </a:t>
            </a:r>
            <a:r>
              <a:rPr lang="uz-Cyrl-UZ" sz="1100" dirty="0">
                <a:latin typeface="Corbel" panose="020B0503020204020204" pitchFamily="34" charset="0"/>
              </a:rPr>
              <a:t>она резко взросла после конфликта и продолжилась до сегодняшних дней под воздействием различн</a:t>
            </a:r>
            <a:r>
              <a:rPr lang="ru-RU" sz="1100" dirty="0">
                <a:latin typeface="Corbel" panose="020B0503020204020204" pitchFamily="34" charset="0"/>
              </a:rPr>
              <a:t>ы</a:t>
            </a:r>
            <a:r>
              <a:rPr lang="uz-Cyrl-UZ" sz="1100" dirty="0">
                <a:latin typeface="Corbel" panose="020B0503020204020204" pitchFamily="34" charset="0"/>
              </a:rPr>
              <a:t>х политических  событий и данных.</a:t>
            </a:r>
            <a:endParaRPr lang="en-US" sz="11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0676FAA-531D-4EEA-A961-8B9831A04A5B}"/>
              </a:ext>
            </a:extLst>
          </p:cNvPr>
          <p:cNvSpPr txBox="1"/>
          <p:nvPr/>
        </p:nvSpPr>
        <p:spPr>
          <a:xfrm>
            <a:off x="1990814" y="162011"/>
            <a:ext cx="592437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</a:rPr>
              <a:t>Доходность </a:t>
            </a:r>
            <a:r>
              <a:rPr lang="ru-RU" sz="1400" b="1" dirty="0">
                <a:solidFill>
                  <a:schemeClr val="bg1"/>
                </a:solidFill>
              </a:rPr>
              <a:t>евробондов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SQB,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Ipoteka</a:t>
            </a:r>
            <a:r>
              <a:rPr lang="uz-Cyrl-UZ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и </a:t>
            </a:r>
            <a:r>
              <a:rPr lang="en-US" sz="1400" dirty="0">
                <a:solidFill>
                  <a:schemeClr val="bg1"/>
                </a:solidFill>
              </a:rPr>
              <a:t>NBU</a:t>
            </a:r>
            <a:r>
              <a:rPr lang="uz-Cyrl-UZ" sz="1400" dirty="0">
                <a:solidFill>
                  <a:schemeClr val="bg1"/>
                </a:solidFill>
              </a:rPr>
              <a:t>  </a:t>
            </a:r>
            <a:br>
              <a:rPr lang="uz-Cyrl-UZ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(</a:t>
            </a:r>
            <a:r>
              <a:rPr lang="ru-RU" sz="1400" dirty="0">
                <a:solidFill>
                  <a:schemeClr val="bg1"/>
                </a:solidFill>
              </a:rPr>
              <a:t>5 авг. 2024 </a:t>
            </a:r>
            <a:r>
              <a:rPr lang="en-US" sz="1400" dirty="0">
                <a:solidFill>
                  <a:schemeClr val="bg1"/>
                </a:solidFill>
              </a:rPr>
              <a:t>–</a:t>
            </a:r>
            <a:r>
              <a:rPr lang="ru-RU" sz="1400" dirty="0">
                <a:solidFill>
                  <a:schemeClr val="bg1"/>
                </a:solidFill>
              </a:rPr>
              <a:t> 20 </a:t>
            </a:r>
            <a:r>
              <a:rPr lang="uz-Cyrl-UZ" sz="1400" dirty="0">
                <a:solidFill>
                  <a:schemeClr val="bg1"/>
                </a:solidFill>
              </a:rPr>
              <a:t>янв</a:t>
            </a:r>
            <a:r>
              <a:rPr lang="ru-RU" sz="1400" dirty="0">
                <a:solidFill>
                  <a:schemeClr val="bg1"/>
                </a:solidFill>
              </a:rPr>
              <a:t>. </a:t>
            </a:r>
            <a:r>
              <a:rPr lang="en-US" sz="1400" dirty="0">
                <a:solidFill>
                  <a:schemeClr val="bg1"/>
                </a:solidFill>
              </a:rPr>
              <a:t>202</a:t>
            </a:r>
            <a:r>
              <a:rPr lang="ru-RU" sz="1400" dirty="0">
                <a:solidFill>
                  <a:schemeClr val="bg1"/>
                </a:solidFill>
              </a:rPr>
              <a:t>5</a:t>
            </a:r>
            <a:r>
              <a:rPr lang="uz-Cyrl-UZ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по </a:t>
            </a:r>
            <a:r>
              <a:rPr lang="en-US" sz="1400" dirty="0">
                <a:solidFill>
                  <a:schemeClr val="bg1"/>
                </a:solidFill>
              </a:rPr>
              <a:t>Bloomberg)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6213" name="Picture 69" descr="Norova Dilnoza - Recruiting Manager - IPOTEKA BANK | LinkedIn">
            <a:extLst>
              <a:ext uri="{FF2B5EF4-FFF2-40B4-BE49-F238E27FC236}">
                <a16:creationId xmlns:a16="http://schemas.microsoft.com/office/drawing/2014/main" id="{A72F5FB2-92C0-4D1F-A42F-53E52D5AA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856" y="5401894"/>
            <a:ext cx="1655443" cy="41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773E4388-4840-477A-9842-9D709DEBFB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666297"/>
              </p:ext>
            </p:extLst>
          </p:nvPr>
        </p:nvGraphicFramePr>
        <p:xfrm>
          <a:off x="308647" y="881927"/>
          <a:ext cx="5924373" cy="4270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8255660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508480-60D9-46BA-551F-B4F554A92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864421" y="643905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08480-60D9-46BA-551F-B4F554A92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64421" y="643905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770B4BF-420A-4DA1-8555-0ACA23401BA4}"/>
              </a:ext>
            </a:extLst>
          </p:cNvPr>
          <p:cNvSpPr txBox="1"/>
          <p:nvPr/>
        </p:nvSpPr>
        <p:spPr>
          <a:xfrm>
            <a:off x="1990814" y="162011"/>
            <a:ext cx="592437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>
                <a:solidFill>
                  <a:schemeClr val="bg1"/>
                </a:solidFill>
              </a:rPr>
              <a:t>SOFR </a:t>
            </a:r>
            <a:r>
              <a:rPr lang="ru-RU" sz="1400">
                <a:solidFill>
                  <a:schemeClr val="bg1"/>
                </a:solidFill>
              </a:rPr>
              <a:t>и </a:t>
            </a:r>
            <a:r>
              <a:rPr lang="ru-RU" sz="1400" b="1" dirty="0">
                <a:solidFill>
                  <a:schemeClr val="bg1"/>
                </a:solidFill>
              </a:rPr>
              <a:t>Euribor </a:t>
            </a:r>
            <a:br>
              <a:rPr lang="ru-RU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Средняя процентная ставка по межбанковским кредитам в США и Европе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03A2D8-FF7C-4504-BCB8-7EB9CA11B2C0}"/>
              </a:ext>
            </a:extLst>
          </p:cNvPr>
          <p:cNvSpPr txBox="1"/>
          <p:nvPr/>
        </p:nvSpPr>
        <p:spPr>
          <a:xfrm>
            <a:off x="5076438" y="3159291"/>
            <a:ext cx="4451608" cy="2292935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just"/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ibor </a:t>
            </a:r>
            <a:r>
              <a:rPr lang="ru-RU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адает быстрее ожидаемого</a:t>
            </a:r>
            <a:endParaRPr lang="en-US" sz="11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just"/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Европейский центробанк начнет в быстром темпе снижать процентную ставку. Одна из причин – снижение инфляции. Европейская межбанковская ставка (Euribor), к которой привязано большинство жилищных кредитов в европейских странах, к концу прошлой недели опустилась до 2,704 %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3 мес.), тогда как 6-мес незначительно поднялась до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,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42%. Это самый низкий показатель с 19 января 2023 года.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 пике 2023 года в середине октября показатель процентной ставки превысил 4%. </a:t>
            </a:r>
          </a:p>
          <a:p>
            <a:pPr algn="just"/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just"/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 банковском секторе большинство экспертов </a:t>
            </a:r>
            <a:r>
              <a:rPr lang="ru-RU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огнозируют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дальнейшее снижение этой ставки, которая к концу 2025 года может </a:t>
            </a:r>
            <a:r>
              <a:rPr lang="ru-RU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низиться до 2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%.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effectLst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6A63C3-F072-495C-A5CC-EEB9A33DA1E4}"/>
              </a:ext>
            </a:extLst>
          </p:cNvPr>
          <p:cNvSpPr txBox="1"/>
          <p:nvPr/>
        </p:nvSpPr>
        <p:spPr>
          <a:xfrm>
            <a:off x="316602" y="3155932"/>
            <a:ext cx="4389128" cy="2292935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200">
                <a:solidFill>
                  <a:schemeClr val="tx2"/>
                </a:solidFill>
              </a:defRPr>
            </a:lvl1pPr>
          </a:lstStyle>
          <a:p>
            <a:r>
              <a:rPr lang="uz-Cyrl-UZ" sz="1100" dirty="0">
                <a:solidFill>
                  <a:schemeClr val="accent5">
                    <a:lumMod val="50000"/>
                  </a:schemeClr>
                </a:solidFill>
              </a:rPr>
              <a:t>На прошедшей недели ставка 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</a:rPr>
              <a:t>SOFR оставалась стабильной в районе 4,28%-4,29%. В январе ставка постепенно снижалась и к 16 январю опустилась до 4,29%. Незначительное изменение ставки SOFR свидетельствует о изменениях в рыночной ликвидности и ожиданиях по монетарной политике. Позиция Федерального резерва по процентным ставкам продолжает определять уровень ставки SOFR. Ожидания изменений в политике могут вызывать небольшие колебания ставки.</a:t>
            </a:r>
          </a:p>
          <a:p>
            <a:endParaRPr lang="ru-RU" sz="1100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ru-RU" sz="1100" dirty="0">
                <a:solidFill>
                  <a:schemeClr val="accent5">
                    <a:lumMod val="50000"/>
                  </a:schemeClr>
                </a:solidFill>
              </a:rPr>
              <a:t>На текущий момент аналитики продолжают ожидать снижения ставки SOFR к концу года до 3-3,5%, что связано с прогнозируемым смягчением денежно-кредитной политики в ответ на возможное замедление экономической активности. </a:t>
            </a:r>
            <a:endParaRPr lang="en-US" sz="1100" dirty="0">
              <a:solidFill>
                <a:srgbClr val="FF0000"/>
              </a:solidFill>
            </a:endParaRPr>
          </a:p>
        </p:txBody>
      </p:sp>
      <p:pic>
        <p:nvPicPr>
          <p:cNvPr id="7198" name="Picture 30" descr="Exchange rate - Free business and finance icons">
            <a:extLst>
              <a:ext uri="{FF2B5EF4-FFF2-40B4-BE49-F238E27FC236}">
                <a16:creationId xmlns:a16="http://schemas.microsoft.com/office/drawing/2014/main" id="{ABD30354-2CC2-4131-A01D-1D7510935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1796" y="5670295"/>
            <a:ext cx="629816" cy="62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Соединитель: уступ 16">
            <a:extLst>
              <a:ext uri="{FF2B5EF4-FFF2-40B4-BE49-F238E27FC236}">
                <a16:creationId xmlns:a16="http://schemas.microsoft.com/office/drawing/2014/main" id="{7C52C5AE-BAB7-468C-B3AF-CA50D3738B2B}"/>
              </a:ext>
            </a:extLst>
          </p:cNvPr>
          <p:cNvCxnSpPr>
            <a:cxnSpLocks/>
            <a:stCxn id="7198" idx="1"/>
            <a:endCxn id="11" idx="2"/>
          </p:cNvCxnSpPr>
          <p:nvPr/>
        </p:nvCxnSpPr>
        <p:spPr>
          <a:xfrm rot="10800000">
            <a:off x="2511166" y="5448867"/>
            <a:ext cx="2080630" cy="536336"/>
          </a:xfrm>
          <a:prstGeom prst="bentConnector2">
            <a:avLst/>
          </a:prstGeom>
          <a:ln w="12700">
            <a:solidFill>
              <a:schemeClr val="accent5">
                <a:lumMod val="75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7" name="Соединитель: уступ 7176">
            <a:extLst>
              <a:ext uri="{FF2B5EF4-FFF2-40B4-BE49-F238E27FC236}">
                <a16:creationId xmlns:a16="http://schemas.microsoft.com/office/drawing/2014/main" id="{91F9D187-72AC-424D-B2E3-976B7B6F49ED}"/>
              </a:ext>
            </a:extLst>
          </p:cNvPr>
          <p:cNvCxnSpPr>
            <a:cxnSpLocks/>
            <a:stCxn id="7198" idx="3"/>
            <a:endCxn id="10" idx="2"/>
          </p:cNvCxnSpPr>
          <p:nvPr/>
        </p:nvCxnSpPr>
        <p:spPr>
          <a:xfrm flipV="1">
            <a:off x="5221612" y="5452226"/>
            <a:ext cx="2080630" cy="532977"/>
          </a:xfrm>
          <a:prstGeom prst="bentConnector2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00000000-0008-0000-02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7485051"/>
              </p:ext>
            </p:extLst>
          </p:nvPr>
        </p:nvGraphicFramePr>
        <p:xfrm>
          <a:off x="316602" y="893115"/>
          <a:ext cx="4462377" cy="2167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6092024"/>
              </p:ext>
            </p:extLst>
          </p:nvPr>
        </p:nvGraphicFramePr>
        <p:xfrm>
          <a:off x="4884877" y="895251"/>
          <a:ext cx="4704521" cy="1847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84608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508480-60D9-46BA-551F-B4F554A92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864421" y="643905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08480-60D9-46BA-551F-B4F554A92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64421" y="643905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AD72241-6D42-4872-BEAD-52F090AF4D53}"/>
              </a:ext>
            </a:extLst>
          </p:cNvPr>
          <p:cNvSpPr txBox="1"/>
          <p:nvPr/>
        </p:nvSpPr>
        <p:spPr>
          <a:xfrm>
            <a:off x="1990814" y="255317"/>
            <a:ext cx="5924372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</a:rPr>
              <a:t>Валютный рынок Узбекистана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19F2527-6729-47D5-B515-5FD783D12918}"/>
              </a:ext>
            </a:extLst>
          </p:cNvPr>
          <p:cNvSpPr/>
          <p:nvPr/>
        </p:nvSpPr>
        <p:spPr>
          <a:xfrm>
            <a:off x="6056063" y="789133"/>
            <a:ext cx="3667218" cy="2800767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Объём торгов на валютной бирже на прошлой неделе достигла </a:t>
            </a: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782 млн долл. США,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что на 272 млн долл. меньше объёма предыдущей недели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.</a:t>
            </a:r>
          </a:p>
          <a:p>
            <a:pPr algn="just"/>
            <a:endParaRPr lang="uz-Cyrl-UZ" sz="1100" b="1" dirty="0"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Corbel" panose="020B0503020204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uz-Cyrl-UZ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В прошлой недели понедельник национальная валюта к доллару укреплялась на протяжение недели укрепилась на  15 сумов и достигла 12 955 сум за 1 долл. В конце недели валюта незначительно обесценилась и достигла 12 967 сум. </a:t>
            </a:r>
          </a:p>
          <a:p>
            <a:pPr algn="just"/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FF"/>
                </a:highlight>
                <a:latin typeface="Corbel" panose="020B0503020204020204" pitchFamily="34" charset="0"/>
              </a:rPr>
              <a:t>Ежегодно сум девальвируется в среднем на 3,5-4,5%, за исключением 2023 года, когда девальвации российской валюты вызвало сокращение экспортных поступлений и денежных переводов мигрантов. С учетом вышеуказанных факторов, к концу года ожидается курс в районе 13 420– 13 550 сум за долл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2D10D67-CCA5-4833-A23D-569D062946C5}"/>
              </a:ext>
            </a:extLst>
          </p:cNvPr>
          <p:cNvSpPr/>
          <p:nvPr/>
        </p:nvSpPr>
        <p:spPr>
          <a:xfrm>
            <a:off x="6506315" y="5190652"/>
            <a:ext cx="312654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Выгодный курс для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продажи доллара населением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отмечен в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Пойтахт банке</a:t>
            </a:r>
            <a:r>
              <a:rPr lang="uz-Cyrl-UZ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 -   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12 940 сум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за 1 долл. Во многих других банках курс </a:t>
            </a:r>
            <a:r>
              <a:rPr lang="uz-Cyrl-UZ" sz="1100" dirty="0">
                <a:solidFill>
                  <a:schemeClr val="accent5"/>
                </a:solidFill>
                <a:latin typeface="Corbel" panose="020B0503020204020204" pitchFamily="34" charset="0"/>
              </a:rPr>
              <a:t>был отмечен на уровне  </a:t>
            </a:r>
            <a:r>
              <a:rPr lang="uz-Cyrl-UZ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12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935</a:t>
            </a:r>
            <a:r>
              <a:rPr lang="uz-Cyrl-UZ" sz="1100" dirty="0">
                <a:solidFill>
                  <a:schemeClr val="accent5"/>
                </a:solidFill>
                <a:latin typeface="Corbel" panose="020B0503020204020204" pitchFamily="34" charset="0"/>
              </a:rPr>
              <a:t>– </a:t>
            </a:r>
            <a:r>
              <a:rPr lang="uz-Cyrl-UZ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12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905   </a:t>
            </a:r>
            <a:r>
              <a:rPr lang="uz-Cyrl-UZ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сум </a:t>
            </a:r>
            <a:r>
              <a:rPr lang="uz-Cyrl-UZ" sz="1100" dirty="0">
                <a:solidFill>
                  <a:schemeClr val="accent5"/>
                </a:solidFill>
                <a:latin typeface="Corbel" panose="020B0503020204020204" pitchFamily="34" charset="0"/>
              </a:rPr>
              <a:t>за   1 долл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325D1BD-A7B5-4308-B645-25466E5F055E}"/>
              </a:ext>
            </a:extLst>
          </p:cNvPr>
          <p:cNvSpPr/>
          <p:nvPr/>
        </p:nvSpPr>
        <p:spPr>
          <a:xfrm>
            <a:off x="6506315" y="4139332"/>
            <a:ext cx="312654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По состоянию на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20.01.2025 г.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выгодный курс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д</a:t>
            </a:r>
            <a:r>
              <a:rPr lang="uz-Cyrl-UZ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ля покупки </a:t>
            </a:r>
            <a:r>
              <a:rPr lang="en-US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USD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населением отмечен</a:t>
            </a:r>
            <a:r>
              <a:rPr lang="en-US" sz="1100" dirty="0">
                <a:solidFill>
                  <a:schemeClr val="accent5"/>
                </a:solidFill>
                <a:latin typeface="Corbel" panose="020B0503020204020204" pitchFamily="34" charset="0"/>
              </a:rPr>
              <a:t>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в</a:t>
            </a:r>
            <a:r>
              <a:rPr lang="en-US" sz="1100" dirty="0">
                <a:solidFill>
                  <a:schemeClr val="accent5"/>
                </a:solidFill>
                <a:latin typeface="Corbel" panose="020B0503020204020204" pitchFamily="34" charset="0"/>
              </a:rPr>
              <a:t> </a:t>
            </a:r>
            <a:r>
              <a:rPr lang="ru-RU" sz="1100" dirty="0" err="1">
                <a:solidFill>
                  <a:schemeClr val="accent5"/>
                </a:solidFill>
                <a:latin typeface="Corbel" panose="020B0503020204020204" pitchFamily="34" charset="0"/>
              </a:rPr>
              <a:t>Алока</a:t>
            </a:r>
            <a:r>
              <a:rPr lang="en-US" sz="1100" dirty="0">
                <a:solidFill>
                  <a:schemeClr val="accent5"/>
                </a:solidFill>
                <a:latin typeface="Corbel" panose="020B0503020204020204" pitchFamily="34" charset="0"/>
              </a:rPr>
              <a:t>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банке </a:t>
            </a:r>
            <a:r>
              <a:rPr lang="uz-Cyrl-UZ" sz="1100" dirty="0">
                <a:solidFill>
                  <a:schemeClr val="accent5"/>
                </a:solidFill>
                <a:latin typeface="Corbel" panose="020B0503020204020204" pitchFamily="34" charset="0"/>
              </a:rPr>
              <a:t>-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12 970 сум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за долл. В остальных банках курс варьировался в пределах  </a:t>
            </a:r>
            <a:r>
              <a:rPr lang="ru-RU" sz="1100" b="1" dirty="0">
                <a:solidFill>
                  <a:schemeClr val="accent5"/>
                </a:solidFill>
                <a:latin typeface="Corbel" panose="020B0503020204020204" pitchFamily="34" charset="0"/>
              </a:rPr>
              <a:t>12 950- 13 030 сум </a:t>
            </a:r>
            <a:r>
              <a:rPr lang="ru-RU" sz="1100" dirty="0">
                <a:solidFill>
                  <a:schemeClr val="accent5"/>
                </a:solidFill>
                <a:latin typeface="Corbel" panose="020B0503020204020204" pitchFamily="34" charset="0"/>
              </a:rPr>
              <a:t>за долл. </a:t>
            </a:r>
          </a:p>
        </p:txBody>
      </p:sp>
      <p:pic>
        <p:nvPicPr>
          <p:cNvPr id="11" name="Picture 8" descr="Pay Icon Png Transparent Images Free – Free PNG Images Vector, PSD,  Clipart, Templates">
            <a:extLst>
              <a:ext uri="{FF2B5EF4-FFF2-40B4-BE49-F238E27FC236}">
                <a16:creationId xmlns:a16="http://schemas.microsoft.com/office/drawing/2014/main" id="{0D3E5A5B-D446-48DA-A170-1220A0037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171" y="4179548"/>
            <a:ext cx="429144" cy="42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Earning, income, money, revenue, wage icon - Download on Iconfinder">
            <a:extLst>
              <a:ext uri="{FF2B5EF4-FFF2-40B4-BE49-F238E27FC236}">
                <a16:creationId xmlns:a16="http://schemas.microsoft.com/office/drawing/2014/main" id="{0949ABB9-33AF-4875-87F9-D5C749C1C3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6063" y="5230868"/>
            <a:ext cx="429144" cy="42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Соединитель: уступ 9">
            <a:extLst>
              <a:ext uri="{FF2B5EF4-FFF2-40B4-BE49-F238E27FC236}">
                <a16:creationId xmlns:a16="http://schemas.microsoft.com/office/drawing/2014/main" id="{7E9F2603-B9BF-4E85-BA2C-3A2B4B1061BD}"/>
              </a:ext>
            </a:extLst>
          </p:cNvPr>
          <p:cNvCxnSpPr>
            <a:cxnSpLocks/>
            <a:stCxn id="7" idx="2"/>
            <a:endCxn id="7" idx="0"/>
          </p:cNvCxnSpPr>
          <p:nvPr/>
        </p:nvCxnSpPr>
        <p:spPr>
          <a:xfrm rot="5400000" flipH="1">
            <a:off x="6489288" y="2189517"/>
            <a:ext cx="2800767" cy="12700"/>
          </a:xfrm>
          <a:prstGeom prst="bentConnector5">
            <a:avLst>
              <a:gd name="adj1" fmla="val -2771"/>
              <a:gd name="adj2" fmla="val 15511252"/>
              <a:gd name="adj3" fmla="val 102171"/>
            </a:avLst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00000000-0008-0000-04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3397029"/>
              </p:ext>
            </p:extLst>
          </p:nvPr>
        </p:nvGraphicFramePr>
        <p:xfrm>
          <a:off x="123320" y="863915"/>
          <a:ext cx="5612402" cy="2815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00000000-0008-0000-04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3261418"/>
              </p:ext>
            </p:extLst>
          </p:nvPr>
        </p:nvGraphicFramePr>
        <p:xfrm>
          <a:off x="123320" y="3848225"/>
          <a:ext cx="5612402" cy="2107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683093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508480-60D9-46BA-551F-B4F554A92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864421" y="643905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08480-60D9-46BA-551F-B4F554A92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64421" y="643905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1539579-3678-4262-8838-0203C18A1B15}"/>
              </a:ext>
            </a:extLst>
          </p:cNvPr>
          <p:cNvSpPr txBox="1"/>
          <p:nvPr/>
        </p:nvSpPr>
        <p:spPr>
          <a:xfrm>
            <a:off x="241268" y="3114820"/>
            <a:ext cx="3114676" cy="26314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4482" indent="-104482" algn="just">
              <a:spcBef>
                <a:spcPts val="366"/>
              </a:spcBef>
              <a:buFont typeface="Wingdings" panose="05000000000000000000" pitchFamily="2" charset="2"/>
              <a:buChar char="Ø"/>
            </a:pPr>
            <a:r>
              <a:rPr lang="ru-RU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Рубль укрепился к доллару</a:t>
            </a:r>
          </a:p>
          <a:p>
            <a:pPr algn="just"/>
            <a:endParaRPr lang="ru-RU" sz="1100" i="1" dirty="0">
              <a:solidFill>
                <a:schemeClr val="tx1">
                  <a:lumMod val="50000"/>
                  <a:lumOff val="50000"/>
                </a:schemeClr>
              </a:solidFill>
              <a:latin typeface="Corbel" panose="020B0503020204020204" pitchFamily="34" charset="0"/>
            </a:endParaRPr>
          </a:p>
          <a:p>
            <a:pPr algn="just"/>
            <a:r>
              <a:rPr lang="ru-RU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Рубль показывает позитивную динамику по отношению к доллару в ожидании на вступления Трампа на свою должность, также в его последующих мерах в экономике и геополитической сфере.</a:t>
            </a:r>
          </a:p>
          <a:p>
            <a:pPr algn="just"/>
            <a:endParaRPr lang="ru-RU" sz="1100" i="1" dirty="0">
              <a:solidFill>
                <a:schemeClr val="tx1">
                  <a:lumMod val="50000"/>
                  <a:lumOff val="50000"/>
                </a:schemeClr>
              </a:solidFill>
              <a:latin typeface="Corbel" panose="020B0503020204020204" pitchFamily="34" charset="0"/>
            </a:endParaRPr>
          </a:p>
          <a:p>
            <a:pPr algn="just"/>
            <a:r>
              <a:rPr lang="ru-RU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На текущей неделе рубль будет получать локальную поддержку от нетто-продаж китайской валюты Центробанком, а также фактором очередных налоговых выплат.</a:t>
            </a:r>
          </a:p>
          <a:p>
            <a:pPr algn="just"/>
            <a:endParaRPr lang="ru-RU" sz="1100" i="1" dirty="0">
              <a:solidFill>
                <a:schemeClr val="tx1">
                  <a:lumMod val="50000"/>
                  <a:lumOff val="50000"/>
                </a:schemeClr>
              </a:solidFill>
              <a:latin typeface="Corbel" panose="020B0503020204020204" pitchFamily="34" charset="0"/>
            </a:endParaRPr>
          </a:p>
          <a:p>
            <a:pPr algn="just"/>
            <a:r>
              <a:rPr lang="ru-RU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Сейчас на бирже рубль торгуется около 102,5 руб. к доллару.</a:t>
            </a:r>
            <a:endParaRPr lang="ru-RU" sz="1100" i="1" dirty="0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A1CCE3-53E7-40A0-BDA9-E26056AE9221}"/>
              </a:ext>
            </a:extLst>
          </p:cNvPr>
          <p:cNvSpPr txBox="1"/>
          <p:nvPr/>
        </p:nvSpPr>
        <p:spPr>
          <a:xfrm>
            <a:off x="6830354" y="3114820"/>
            <a:ext cx="2863450" cy="33085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b="1" i="0" dirty="0">
                <a:solidFill>
                  <a:schemeClr val="accent5">
                    <a:lumMod val="75000"/>
                  </a:schemeClr>
                </a:solidFill>
                <a:effectLst/>
                <a:latin typeface="Inter"/>
              </a:rPr>
              <a:t>Доллар отступает перед инаугурацией Трампа, евро восстанавливается</a:t>
            </a:r>
          </a:p>
          <a:p>
            <a:pPr algn="just"/>
            <a:br>
              <a:rPr lang="ru-RU" sz="1100" b="1" i="0" dirty="0">
                <a:solidFill>
                  <a:srgbClr val="232526"/>
                </a:solidFill>
                <a:effectLst/>
                <a:latin typeface="Inter"/>
              </a:rPr>
            </a:br>
            <a:r>
              <a:rPr lang="ru-RU" sz="1100" dirty="0">
                <a:solidFill>
                  <a:schemeClr val="accent5">
                    <a:lumMod val="75000"/>
                  </a:schemeClr>
                </a:solidFill>
              </a:rPr>
              <a:t>Доллар США опустился ниже в понедельник, находясь в обороне перед возвращением Трампа в Белый дом, а торговые объемы снизились из-за праздника в США.</a:t>
            </a:r>
          </a:p>
          <a:p>
            <a:pPr algn="just"/>
            <a:endParaRPr lang="ru-RU" sz="1100" dirty="0">
              <a:solidFill>
                <a:schemeClr val="accent5">
                  <a:lumMod val="75000"/>
                </a:schemeClr>
              </a:solidFill>
            </a:endParaRPr>
          </a:p>
          <a:p>
            <a:pPr algn="just"/>
            <a:r>
              <a:rPr lang="ru-RU" sz="1100" dirty="0">
                <a:solidFill>
                  <a:schemeClr val="accent5">
                    <a:lumMod val="75000"/>
                  </a:schemeClr>
                </a:solidFill>
              </a:rPr>
              <a:t>Доллар начал новую неделю в оборонительной позиции, набрав около 4% с момента ноябрьских президентских выборов в США, поскольку трейдеры ожидали, что политика Трампа будет инфляционной и потребует высоких процентных ставок в течение длительного периода. EUR/USD вырос на 0,3% до 1,0313, но остался вблизи двухлетнего минимума, достигнутого на прошлой неделе</a:t>
            </a:r>
            <a:endParaRPr lang="en-US" sz="11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4A312B-8076-4EC0-85AD-E1AFF507D82C}"/>
              </a:ext>
            </a:extLst>
          </p:cNvPr>
          <p:cNvSpPr txBox="1"/>
          <p:nvPr/>
        </p:nvSpPr>
        <p:spPr>
          <a:xfrm>
            <a:off x="1990814" y="267100"/>
            <a:ext cx="5924372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</a:rPr>
              <a:t>Обзор валютных пар</a:t>
            </a:r>
            <a:r>
              <a:rPr lang="en-US" sz="1400" b="1" dirty="0">
                <a:solidFill>
                  <a:schemeClr val="bg1"/>
                </a:solidFill>
              </a:rPr>
              <a:t> (Refinitiv Eikon)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D0955D-F674-4CBB-97C3-F3B0DEF7B2B1}"/>
              </a:ext>
            </a:extLst>
          </p:cNvPr>
          <p:cNvSpPr txBox="1"/>
          <p:nvPr/>
        </p:nvSpPr>
        <p:spPr>
          <a:xfrm>
            <a:off x="3469571" y="3114820"/>
            <a:ext cx="307564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Рубль немного подрос в паре с юанем на фоне подготовки экспортеров к налогам января</a:t>
            </a:r>
          </a:p>
          <a:p>
            <a:pPr algn="just"/>
            <a:endParaRPr lang="ru-RU" sz="1100" b="1" i="1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  <a:p>
            <a:pPr algn="just"/>
            <a:r>
              <a:rPr lang="ru-RU" sz="1100" i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Юань немного опустился на Мосбирже по итогам торгов в понедельник, рубль укрепился в рамках подготовки экспортеров к налоговым выплатам января. </a:t>
            </a:r>
          </a:p>
          <a:p>
            <a:pPr algn="just"/>
            <a:endParaRPr lang="ru-RU" sz="1100" i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just"/>
            <a:r>
              <a:rPr lang="ru-RU" sz="1100" i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Рубль на прошлой неделе показал относительно стабильную динамику. Юань подорожал на 1,1% - до 13,8 руб. В условиях новых санкций, введенных против российского экспорта нефти и газа, могут наблюдаться проблемы с поступлением валютной выручки. При этом основную поддержку котировкам рубля продолжают оказывать высокие цены на нефть</a:t>
            </a: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00000000-0008-0000-06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3652465"/>
              </p:ext>
            </p:extLst>
          </p:nvPr>
        </p:nvGraphicFramePr>
        <p:xfrm>
          <a:off x="186165" y="845434"/>
          <a:ext cx="3032115" cy="207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00000000-0008-0000-05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4964111"/>
              </p:ext>
            </p:extLst>
          </p:nvPr>
        </p:nvGraphicFramePr>
        <p:xfrm>
          <a:off x="3360783" y="837972"/>
          <a:ext cx="3184434" cy="207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00000000-0008-0000-07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9719732"/>
              </p:ext>
            </p:extLst>
          </p:nvPr>
        </p:nvGraphicFramePr>
        <p:xfrm>
          <a:off x="6687720" y="837974"/>
          <a:ext cx="3006084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30849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508480-60D9-46BA-551F-B4F554A92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864421" y="643905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08480-60D9-46BA-551F-B4F554A92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64421" y="643905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44D4027-FFC2-439B-8006-981B677C168D}"/>
              </a:ext>
            </a:extLst>
          </p:cNvPr>
          <p:cNvSpPr txBox="1"/>
          <p:nvPr/>
        </p:nvSpPr>
        <p:spPr>
          <a:xfrm>
            <a:off x="2053442" y="265926"/>
            <a:ext cx="5924372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</a:rPr>
              <a:t>Аналитика цен на основные сырьевые товар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047F81-A4E4-45C5-8BB1-6E06DB7F84E0}"/>
              </a:ext>
            </a:extLst>
          </p:cNvPr>
          <p:cNvSpPr txBox="1"/>
          <p:nvPr/>
        </p:nvSpPr>
        <p:spPr>
          <a:xfrm>
            <a:off x="6795311" y="2936222"/>
            <a:ext cx="2884885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000" b="1" i="0" dirty="0">
                <a:solidFill>
                  <a:schemeClr val="accent5">
                    <a:lumMod val="75000"/>
                  </a:schemeClr>
                </a:solidFill>
                <a:effectLst/>
                <a:latin typeface="Inter"/>
              </a:rPr>
              <a:t>Цены на европейский природный газ немного выросли</a:t>
            </a:r>
          </a:p>
          <a:p>
            <a:pPr algn="just"/>
            <a:endParaRPr lang="ru-RU" sz="1000" b="1" dirty="0">
              <a:solidFill>
                <a:schemeClr val="accent5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just"/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Эталонный голландский контракт TTF на европейский природный газ показал незначительный рост на 0,2% в начале торгов, при этом цены установились на уровне </a:t>
            </a:r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$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48 за мегаватт-час. </a:t>
            </a:r>
          </a:p>
          <a:p>
            <a:pPr algn="just"/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Этот рост происходит после того, как цены упали со своего пика в начале января. Падение цен было обусловлено сочетанием факторов, включая прогнозы более мягкой погоды и меньшую неопределенность в отношении поставок сжиженного природного газа  в Европу.</a:t>
            </a:r>
          </a:p>
          <a:p>
            <a:pPr algn="just"/>
            <a:endParaRPr lang="ru-RU" sz="1000" dirty="0">
              <a:solidFill>
                <a:schemeClr val="accent5">
                  <a:lumMod val="50000"/>
                </a:schemeClr>
              </a:solidFill>
              <a:latin typeface="Corbel" panose="020B0503020204020204" pitchFamily="34" charset="0"/>
            </a:endParaRPr>
          </a:p>
          <a:p>
            <a:pPr algn="just"/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На снижение цен также повлияла потеря некоторых объемов российского газа после окончания транзитного соглашения с Украиной и сокращение запасов газа.</a:t>
            </a:r>
          </a:p>
          <a:p>
            <a:pPr algn="just" fontAlgn="base"/>
            <a:br>
              <a:rPr lang="ru-RU" sz="1000" dirty="0"/>
            </a:br>
            <a:endParaRPr lang="ru-RU" sz="1000" dirty="0">
              <a:solidFill>
                <a:schemeClr val="accent5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17BA46-0274-4313-8E43-52F94B71E3CB}"/>
              </a:ext>
            </a:extLst>
          </p:cNvPr>
          <p:cNvSpPr txBox="1"/>
          <p:nvPr/>
        </p:nvSpPr>
        <p:spPr>
          <a:xfrm>
            <a:off x="3573065" y="2936222"/>
            <a:ext cx="2884885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000" b="1" dirty="0">
                <a:solidFill>
                  <a:schemeClr val="accent5">
                    <a:lumMod val="75000"/>
                  </a:schemeClr>
                </a:solidFill>
                <a:latin typeface="Corbel" panose="020B0503020204020204" pitchFamily="34" charset="0"/>
              </a:rPr>
              <a:t>Мировые цены на нефть растут почти на 3% – Brent стоит выше $80</a:t>
            </a:r>
          </a:p>
          <a:p>
            <a:pPr algn="l"/>
            <a:endParaRPr lang="ru-RU" sz="1000" b="0" i="0" dirty="0">
              <a:solidFill>
                <a:srgbClr val="121212"/>
              </a:solidFill>
              <a:effectLst/>
              <a:latin typeface="Roboto Flex"/>
            </a:endParaRPr>
          </a:p>
          <a:p>
            <a:pPr algn="just"/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Рост цен вызван санкциями против энергетического сектора России. После введения ограничений покупатели российской нефти обратились к другим поставщикам. Индия, к примеру, запретила подсанкционные танкеры, компании из КНР начали покупать нефть на Ближнем Востоке.</a:t>
            </a:r>
          </a:p>
          <a:p>
            <a:pPr algn="just"/>
            <a:endParaRPr lang="ru-RU" sz="1000" dirty="0">
              <a:solidFill>
                <a:schemeClr val="accent5">
                  <a:lumMod val="50000"/>
                </a:schemeClr>
              </a:solidFill>
              <a:latin typeface="Corbel" panose="020B0503020204020204" pitchFamily="34" charset="0"/>
            </a:endParaRPr>
          </a:p>
          <a:p>
            <a:pPr algn="just"/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Помимо этого, рост цен на нефть связан с сокращением нефтяных запасов США. Так, на протяжении 8 недель их объемы падали и теперь достигли минимума с апреля 2024 года.</a:t>
            </a:r>
          </a:p>
          <a:p>
            <a:pPr algn="just"/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orbel" panose="020B0503020204020204" pitchFamily="34" charset="0"/>
              </a:rPr>
              <a:t>Международное энергетическое агентство пересмотрело свой прогноз по уровню профицита нефти.</a:t>
            </a:r>
          </a:p>
          <a:p>
            <a:pPr algn="just"/>
            <a:endParaRPr lang="en-US" sz="1000" dirty="0">
              <a:solidFill>
                <a:schemeClr val="accent5">
                  <a:lumMod val="50000"/>
                </a:schemeClr>
              </a:solidFill>
              <a:latin typeface="Corbel" panose="020B0503020204020204" pitchFamily="34" charset="0"/>
            </a:endParaRPr>
          </a:p>
          <a:p>
            <a:pPr algn="just"/>
            <a:endParaRPr lang="ru-RU" sz="1000" dirty="0">
              <a:solidFill>
                <a:schemeClr val="accent5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B65E29-D9AA-41EA-80CD-6144283CEBCC}"/>
              </a:ext>
            </a:extLst>
          </p:cNvPr>
          <p:cNvSpPr txBox="1"/>
          <p:nvPr/>
        </p:nvSpPr>
        <p:spPr>
          <a:xfrm>
            <a:off x="225804" y="2936222"/>
            <a:ext cx="2884885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Ø"/>
              <a:defRPr sz="1000" b="1">
                <a:solidFill>
                  <a:schemeClr val="accent5">
                    <a:lumMod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pPr algn="l"/>
            <a:r>
              <a:rPr lang="ru-RU" dirty="0"/>
              <a:t>С начала года золото выросло почти на 4%</a:t>
            </a:r>
          </a:p>
          <a:p>
            <a:pPr marL="0" indent="0">
              <a:buNone/>
            </a:pPr>
            <a:endParaRPr lang="ru-RU" b="0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ru-RU" b="0" dirty="0">
                <a:solidFill>
                  <a:schemeClr val="accent5">
                    <a:lumMod val="50000"/>
                  </a:schemeClr>
                </a:solidFill>
              </a:rPr>
              <a:t>В конце недели золота на мировом рынке впервые в этом году поднялись выше уровня $2701 за тройскую унцию. Однако неделю драгметалл начал с потерь, в понедельник она снизилась до $ 2677. </a:t>
            </a:r>
          </a:p>
          <a:p>
            <a:pPr marL="0" indent="0">
              <a:buNone/>
            </a:pPr>
            <a:endParaRPr lang="ru-RU" b="0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ru-RU" b="0" dirty="0">
                <a:solidFill>
                  <a:schemeClr val="accent5">
                    <a:lumMod val="50000"/>
                  </a:schemeClr>
                </a:solidFill>
              </a:rPr>
              <a:t>Поддержку рынку драгоценных металлов оказывает снижение доходности облигаций и ожидания смягчения денежно-кредитной политики со стороны </a:t>
            </a:r>
            <a:r>
              <a:rPr lang="uz-Cyrl-UZ" b="0" dirty="0">
                <a:solidFill>
                  <a:schemeClr val="accent5">
                    <a:lumMod val="50000"/>
                  </a:schemeClr>
                </a:solidFill>
              </a:rPr>
              <a:t>ФРС </a:t>
            </a:r>
            <a:r>
              <a:rPr lang="ru-RU" b="0" dirty="0">
                <a:solidFill>
                  <a:schemeClr val="accent5">
                    <a:lumMod val="50000"/>
                  </a:schemeClr>
                </a:solidFill>
              </a:rPr>
              <a:t>США, ЕЦБ и Банка Англии. </a:t>
            </a:r>
          </a:p>
          <a:p>
            <a:pPr marL="0" indent="0">
              <a:buNone/>
            </a:pPr>
            <a:endParaRPr lang="ru-RU" b="0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ru-RU" b="0" dirty="0">
                <a:solidFill>
                  <a:schemeClr val="accent5">
                    <a:lumMod val="50000"/>
                  </a:schemeClr>
                </a:solidFill>
              </a:rPr>
              <a:t>Несмотря на краткосрочное снижение цен, золото остается востребованным активом на фоне сохраняющейся неопределенности в мировой экономике и возможного завершения цикла повышения ставок центральными банками.</a:t>
            </a: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00000000-0008-0000-08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6666134"/>
              </p:ext>
            </p:extLst>
          </p:nvPr>
        </p:nvGraphicFramePr>
        <p:xfrm>
          <a:off x="220060" y="846780"/>
          <a:ext cx="2890629" cy="1794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00000000-0008-0000-09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4564869"/>
              </p:ext>
            </p:extLst>
          </p:nvPr>
        </p:nvGraphicFramePr>
        <p:xfrm>
          <a:off x="3448050" y="801731"/>
          <a:ext cx="3009900" cy="196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00000000-0008-0000-0A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4258135"/>
              </p:ext>
            </p:extLst>
          </p:nvPr>
        </p:nvGraphicFramePr>
        <p:xfrm>
          <a:off x="6681188" y="763629"/>
          <a:ext cx="2884885" cy="2066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50526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5">
                <a:lumMod val="20000"/>
                <a:lumOff val="80000"/>
              </a:schemeClr>
            </a:gs>
            <a:gs pos="100000">
              <a:schemeClr val="tx2">
                <a:lumMod val="20000"/>
                <a:lumOff val="8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5723FC-B5F9-4BD2-B777-D09C83AA4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 Black" panose="020B0A04020102020204" pitchFamily="34" charset="0"/>
              </a:rPr>
              <a:t>Новости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E7F21587-AA77-4F3D-9FDE-9AACD8BD9C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36155" y="3181958"/>
            <a:ext cx="7097086" cy="2757344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745E817-05D3-4D6D-A01C-26E70B2F9184}"/>
              </a:ext>
            </a:extLst>
          </p:cNvPr>
          <p:cNvGrpSpPr/>
          <p:nvPr/>
        </p:nvGrpSpPr>
        <p:grpSpPr>
          <a:xfrm flipV="1">
            <a:off x="223096" y="4278385"/>
            <a:ext cx="4498209" cy="1917293"/>
            <a:chOff x="995363" y="5403701"/>
            <a:chExt cx="1433205" cy="192457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4A0B8E2-46BE-4FFE-9A2F-A714BD368B75}"/>
                </a:ext>
              </a:extLst>
            </p:cNvPr>
            <p:cNvCxnSpPr/>
            <p:nvPr/>
          </p:nvCxnSpPr>
          <p:spPr>
            <a:xfrm>
              <a:off x="995363" y="5403701"/>
              <a:ext cx="1433205" cy="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D6BB049D-0D20-412B-92F1-A5373D6204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89188" y="5403701"/>
              <a:ext cx="539380" cy="1924570"/>
            </a:xfrm>
            <a:prstGeom prst="line">
              <a:avLst/>
            </a:prstGeom>
            <a:ln w="6350"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B1F2A6C-18DD-4305-9B7A-789D6FC70F7C}"/>
              </a:ext>
            </a:extLst>
          </p:cNvPr>
          <p:cNvGrpSpPr/>
          <p:nvPr/>
        </p:nvGrpSpPr>
        <p:grpSpPr>
          <a:xfrm>
            <a:off x="293923" y="2955382"/>
            <a:ext cx="5676500" cy="886776"/>
            <a:chOff x="995363" y="5403701"/>
            <a:chExt cx="1836323" cy="1001531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A67D804-E2A3-4452-8105-0EC5CAE8E7B9}"/>
                </a:ext>
              </a:extLst>
            </p:cNvPr>
            <p:cNvCxnSpPr/>
            <p:nvPr/>
          </p:nvCxnSpPr>
          <p:spPr>
            <a:xfrm>
              <a:off x="995363" y="5403701"/>
              <a:ext cx="1433205" cy="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C9E3B9C-9BCD-4AE8-AA4B-6109683A1948}"/>
                </a:ext>
              </a:extLst>
            </p:cNvPr>
            <p:cNvCxnSpPr>
              <a:cxnSpLocks/>
            </p:cNvCxnSpPr>
            <p:nvPr/>
          </p:nvCxnSpPr>
          <p:spPr>
            <a:xfrm>
              <a:off x="2428568" y="5403701"/>
              <a:ext cx="403118" cy="1001531"/>
            </a:xfrm>
            <a:prstGeom prst="line">
              <a:avLst/>
            </a:prstGeom>
            <a:ln w="6350"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BFC0246-3B69-4862-BAA4-B764D444281F}"/>
              </a:ext>
            </a:extLst>
          </p:cNvPr>
          <p:cNvGrpSpPr/>
          <p:nvPr/>
        </p:nvGrpSpPr>
        <p:grpSpPr>
          <a:xfrm flipH="1">
            <a:off x="5276675" y="2950336"/>
            <a:ext cx="4471071" cy="791154"/>
            <a:chOff x="995363" y="5403701"/>
            <a:chExt cx="1696429" cy="99816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E8545F2-9E3C-44DA-BA6E-3EAFF853043C}"/>
                </a:ext>
              </a:extLst>
            </p:cNvPr>
            <p:cNvCxnSpPr/>
            <p:nvPr/>
          </p:nvCxnSpPr>
          <p:spPr>
            <a:xfrm>
              <a:off x="995363" y="5403701"/>
              <a:ext cx="1433205" cy="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5858DEA-1938-4116-9B75-CF40E9FA62A6}"/>
                </a:ext>
              </a:extLst>
            </p:cNvPr>
            <p:cNvCxnSpPr>
              <a:cxnSpLocks/>
            </p:cNvCxnSpPr>
            <p:nvPr/>
          </p:nvCxnSpPr>
          <p:spPr>
            <a:xfrm>
              <a:off x="2428566" y="5403701"/>
              <a:ext cx="263226" cy="998167"/>
            </a:xfrm>
            <a:prstGeom prst="line">
              <a:avLst/>
            </a:prstGeom>
            <a:ln w="6350"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820D662-9054-4723-9680-A4298D4DE804}"/>
              </a:ext>
            </a:extLst>
          </p:cNvPr>
          <p:cNvGrpSpPr/>
          <p:nvPr/>
        </p:nvGrpSpPr>
        <p:grpSpPr>
          <a:xfrm flipH="1" flipV="1">
            <a:off x="2793534" y="4424016"/>
            <a:ext cx="6936979" cy="1771708"/>
            <a:chOff x="995361" y="5403700"/>
            <a:chExt cx="4665405" cy="997397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78D6B3F-DE1C-4C1F-8132-594F75B249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5361" y="5403701"/>
              <a:ext cx="2809661" cy="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F403116-2F5C-4929-914A-D4B021A7F5EF}"/>
                </a:ext>
              </a:extLst>
            </p:cNvPr>
            <p:cNvCxnSpPr>
              <a:cxnSpLocks/>
            </p:cNvCxnSpPr>
            <p:nvPr/>
          </p:nvCxnSpPr>
          <p:spPr>
            <a:xfrm>
              <a:off x="3805022" y="5403700"/>
              <a:ext cx="1855744" cy="997397"/>
            </a:xfrm>
            <a:prstGeom prst="line">
              <a:avLst/>
            </a:prstGeom>
            <a:ln w="6350"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898DE0EB-6674-4D9C-AB06-8A22C9ACCD57}"/>
              </a:ext>
            </a:extLst>
          </p:cNvPr>
          <p:cNvSpPr txBox="1"/>
          <p:nvPr/>
        </p:nvSpPr>
        <p:spPr>
          <a:xfrm>
            <a:off x="6271463" y="5275286"/>
            <a:ext cx="3312870" cy="1447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r" defTabSz="37147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E2EFEAB-9868-4E59-8B38-6A3A09CFE62D}"/>
              </a:ext>
            </a:extLst>
          </p:cNvPr>
          <p:cNvSpPr txBox="1"/>
          <p:nvPr/>
        </p:nvSpPr>
        <p:spPr>
          <a:xfrm>
            <a:off x="290935" y="2219119"/>
            <a:ext cx="4430369" cy="97379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defTabSz="371475">
              <a:lnSpc>
                <a:spcPct val="110000"/>
              </a:lnSpc>
              <a:spcAft>
                <a:spcPts val="488"/>
              </a:spcAft>
              <a:defRPr sz="900" b="1">
                <a:solidFill>
                  <a:srgbClr val="002060"/>
                </a:solidFill>
                <a:latin typeface="Corbel" panose="020B0503020204020204" pitchFamily="34" charset="0"/>
              </a:defRPr>
            </a:lvl1pPr>
          </a:lstStyle>
          <a:p>
            <a:pPr algn="just"/>
            <a:r>
              <a:rPr lang="ru-RU" dirty="0"/>
              <a:t>Цифровые валюты центральных банков (CBDC)</a:t>
            </a:r>
          </a:p>
          <a:p>
            <a:pPr algn="just"/>
            <a:r>
              <a:rPr lang="ru-RU" b="0" dirty="0"/>
              <a:t>Ряд стран, включая Китай и Европу, активизируют тестирование CBDC. Это может кардинально изменить платежные системы и банковские операции в ближайшие годы​</a:t>
            </a:r>
          </a:p>
          <a:p>
            <a:pPr algn="just"/>
            <a:r>
              <a:rPr lang="ru-RU" dirty="0"/>
              <a:t>​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6143B1D-8044-4E9A-90EC-88656FE87502}"/>
              </a:ext>
            </a:extLst>
          </p:cNvPr>
          <p:cNvSpPr txBox="1"/>
          <p:nvPr/>
        </p:nvSpPr>
        <p:spPr>
          <a:xfrm>
            <a:off x="5619946" y="5432753"/>
            <a:ext cx="4062958" cy="9737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371475">
              <a:lnSpc>
                <a:spcPct val="110000"/>
              </a:lnSpc>
              <a:spcAft>
                <a:spcPts val="488"/>
              </a:spcAft>
              <a:defRPr/>
            </a:pPr>
            <a:r>
              <a:rPr lang="ru-RU" sz="900" b="1" dirty="0">
                <a:solidFill>
                  <a:srgbClr val="002060"/>
                </a:solidFill>
                <a:latin typeface="Corbel" panose="020B0503020204020204" pitchFamily="34" charset="0"/>
              </a:rPr>
              <a:t>Goldman Sachs развивает AI-платформу для инвестиций</a:t>
            </a:r>
          </a:p>
          <a:p>
            <a:pPr algn="r" defTabSz="371475">
              <a:lnSpc>
                <a:spcPct val="110000"/>
              </a:lnSpc>
              <a:spcAft>
                <a:spcPts val="488"/>
              </a:spcAft>
              <a:defRPr/>
            </a:pPr>
            <a:r>
              <a:rPr lang="ru-RU" sz="900" dirty="0">
                <a:solidFill>
                  <a:srgbClr val="002060"/>
                </a:solidFill>
                <a:latin typeface="Corbel" panose="020B0503020204020204" pitchFamily="34" charset="0"/>
              </a:rPr>
              <a:t>Goldman Sachs представил AI-платформу для анализа рынка, что позволяет клиентам получать более точные прогнозы и управлять портфелями в режиме реального времени</a:t>
            </a:r>
            <a:r>
              <a:rPr lang="ru-RU" sz="900" b="1" dirty="0">
                <a:solidFill>
                  <a:srgbClr val="002060"/>
                </a:solidFill>
                <a:latin typeface="Corbel" panose="020B0503020204020204" pitchFamily="34" charset="0"/>
              </a:rPr>
              <a:t>​</a:t>
            </a:r>
          </a:p>
          <a:p>
            <a:pPr algn="r" defTabSz="371475">
              <a:lnSpc>
                <a:spcPct val="110000"/>
              </a:lnSpc>
              <a:spcAft>
                <a:spcPts val="488"/>
              </a:spcAft>
              <a:defRPr/>
            </a:pPr>
            <a:r>
              <a:rPr lang="ru-RU" sz="900" b="1" dirty="0">
                <a:solidFill>
                  <a:srgbClr val="002060"/>
                </a:solidFill>
                <a:latin typeface="Corbel" panose="020B0503020204020204" pitchFamily="34" charset="0"/>
              </a:rPr>
              <a:t>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F0479E-DAC1-32E0-EEF2-F9707E0B94D8}"/>
              </a:ext>
            </a:extLst>
          </p:cNvPr>
          <p:cNvSpPr txBox="1"/>
          <p:nvPr/>
        </p:nvSpPr>
        <p:spPr>
          <a:xfrm>
            <a:off x="5850468" y="2219119"/>
            <a:ext cx="3880046" cy="9737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371475">
              <a:lnSpc>
                <a:spcPct val="110000"/>
              </a:lnSpc>
              <a:spcAft>
                <a:spcPts val="488"/>
              </a:spcAft>
              <a:defRPr/>
            </a:pPr>
            <a:r>
              <a:rPr lang="ru-RU" sz="900" b="1" dirty="0">
                <a:solidFill>
                  <a:srgbClr val="002060"/>
                </a:solidFill>
                <a:latin typeface="Corbel" panose="020B0503020204020204" pitchFamily="34" charset="0"/>
              </a:rPr>
              <a:t>Рекордные инвестиции в устойчивость данных</a:t>
            </a:r>
          </a:p>
          <a:p>
            <a:pPr algn="r" defTabSz="371475">
              <a:lnSpc>
                <a:spcPct val="110000"/>
              </a:lnSpc>
              <a:spcAft>
                <a:spcPts val="488"/>
              </a:spcAft>
              <a:defRPr/>
            </a:pPr>
            <a:r>
              <a:rPr lang="ru-RU" sz="900" dirty="0">
                <a:solidFill>
                  <a:srgbClr val="002060"/>
                </a:solidFill>
                <a:latin typeface="Corbel" panose="020B0503020204020204" pitchFamily="34" charset="0"/>
              </a:rPr>
              <a:t>Глобальные банки направляют значительные ресурсы на защиту данных от угроз, включая развитие криптографических технологий для защиты от угроз квантовых вычислений</a:t>
            </a:r>
            <a:r>
              <a:rPr lang="ru-RU" sz="900" b="1" dirty="0">
                <a:solidFill>
                  <a:srgbClr val="002060"/>
                </a:solidFill>
                <a:latin typeface="Corbel" panose="020B0503020204020204" pitchFamily="34" charset="0"/>
              </a:rPr>
              <a:t>​</a:t>
            </a:r>
          </a:p>
          <a:p>
            <a:pPr algn="r" defTabSz="371475">
              <a:lnSpc>
                <a:spcPct val="110000"/>
              </a:lnSpc>
              <a:spcAft>
                <a:spcPts val="488"/>
              </a:spcAft>
              <a:defRPr/>
            </a:pPr>
            <a:r>
              <a:rPr lang="ru-RU" sz="900" b="1" dirty="0">
                <a:solidFill>
                  <a:srgbClr val="002060"/>
                </a:solidFill>
                <a:latin typeface="Corbel" panose="020B0503020204020204" pitchFamily="34" charset="0"/>
              </a:rPr>
              <a:t>​</a:t>
            </a:r>
            <a:r>
              <a:rPr lang="ru-RU" sz="900" dirty="0">
                <a:solidFill>
                  <a:srgbClr val="002060"/>
                </a:solidFill>
                <a:latin typeface="Corbel" panose="020B0503020204020204" pitchFamily="34" charset="0"/>
              </a:rPr>
              <a:t>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908CC1-9D82-95FD-2510-159B3B07C8DB}"/>
              </a:ext>
            </a:extLst>
          </p:cNvPr>
          <p:cNvSpPr txBox="1"/>
          <p:nvPr/>
        </p:nvSpPr>
        <p:spPr>
          <a:xfrm>
            <a:off x="164675" y="5432753"/>
            <a:ext cx="3870430" cy="75732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defTabSz="371475">
              <a:lnSpc>
                <a:spcPct val="110000"/>
              </a:lnSpc>
              <a:spcAft>
                <a:spcPts val="488"/>
              </a:spcAft>
              <a:defRPr sz="900" b="1">
                <a:solidFill>
                  <a:srgbClr val="002060"/>
                </a:solidFill>
                <a:latin typeface="Corbel" panose="020B0503020204020204" pitchFamily="34" charset="0"/>
              </a:defRPr>
            </a:lvl1pPr>
          </a:lstStyle>
          <a:p>
            <a:pPr algn="just"/>
            <a:r>
              <a:rPr lang="ru-RU" dirty="0"/>
              <a:t>Гибридные банки набирают популярность</a:t>
            </a:r>
          </a:p>
          <a:p>
            <a:pPr algn="just"/>
            <a:r>
              <a:rPr lang="ru-RU" b="0" dirty="0" err="1"/>
              <a:t>Финтех</a:t>
            </a:r>
            <a:r>
              <a:rPr lang="ru-RU" b="0" dirty="0"/>
              <a:t>-компании, такие как </a:t>
            </a:r>
            <a:r>
              <a:rPr lang="ru-RU" b="0" dirty="0" err="1"/>
              <a:t>Affirm</a:t>
            </a:r>
            <a:r>
              <a:rPr lang="ru-RU" b="0" dirty="0"/>
              <a:t>, выходят на рынок традиционного банковского кредитования, предлагая гибридные решения, включая услуги "покупай сейчас, плати потом" и банковские счета​</a:t>
            </a:r>
          </a:p>
        </p:txBody>
      </p:sp>
    </p:spTree>
    <p:extLst>
      <p:ext uri="{BB962C8B-B14F-4D97-AF65-F5344CB8AC3E}">
        <p14:creationId xmlns:p14="http://schemas.microsoft.com/office/powerpoint/2010/main" val="4113590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002060"/>
      </a:dk1>
      <a:lt1>
        <a:sysClr val="window" lastClr="FFFFFF"/>
      </a:lt1>
      <a:dk2>
        <a:srgbClr val="003399"/>
      </a:dk2>
      <a:lt2>
        <a:srgbClr val="EBEBEB"/>
      </a:lt2>
      <a:accent1>
        <a:srgbClr val="B2BCC2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Другая 1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Другая 2">
    <a:dk1>
      <a:srgbClr val="002060"/>
    </a:dk1>
    <a:lt1>
      <a:sysClr val="window" lastClr="FFFFFF"/>
    </a:lt1>
    <a:dk2>
      <a:srgbClr val="003399"/>
    </a:dk2>
    <a:lt2>
      <a:srgbClr val="EBEBEB"/>
    </a:lt2>
    <a:accent1>
      <a:srgbClr val="B2BCC2"/>
    </a:accent1>
    <a:accent2>
      <a:srgbClr val="E33D6F"/>
    </a:accent2>
    <a:accent3>
      <a:srgbClr val="E45F3C"/>
    </a:accent3>
    <a:accent4>
      <a:srgbClr val="E9943A"/>
    </a:accent4>
    <a:accent5>
      <a:srgbClr val="9B6BF2"/>
    </a:accent5>
    <a:accent6>
      <a:srgbClr val="D53DD0"/>
    </a:accent6>
    <a:hlink>
      <a:srgbClr val="8F8F8F"/>
    </a:hlink>
    <a:folHlink>
      <a:srgbClr val="A5A5A5"/>
    </a:folHlink>
  </a:clrScheme>
  <a:fontScheme name="Другая 1">
    <a:majorFont>
      <a:latin typeface="Corbel"/>
      <a:ea typeface=""/>
      <a:cs typeface=""/>
    </a:majorFont>
    <a:minorFont>
      <a:latin typeface="Corbel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976</TotalTime>
  <Words>1378</Words>
  <Application>Microsoft Office PowerPoint</Application>
  <PresentationFormat>Лист A4 (210x297 мм)</PresentationFormat>
  <Paragraphs>108</Paragraphs>
  <Slides>7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8" baseType="lpstr">
      <vt:lpstr>Arial</vt:lpstr>
      <vt:lpstr>Arial Black</vt:lpstr>
      <vt:lpstr>Calibri</vt:lpstr>
      <vt:lpstr>Corbel</vt:lpstr>
      <vt:lpstr>Inter</vt:lpstr>
      <vt:lpstr>KPMG Bold</vt:lpstr>
      <vt:lpstr>Roboto Flex</vt:lpstr>
      <vt:lpstr>Wingdings</vt:lpstr>
      <vt:lpstr>Тема Office</vt:lpstr>
      <vt:lpstr>KPMG Widescreen [16:9] Feb 2022</vt:lpstr>
      <vt:lpstr>Слайд think-cell</vt:lpstr>
      <vt:lpstr>Обзор мировых и финансовых рын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овост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rofessional</dc:creator>
  <cp:lastModifiedBy>Amirbek R. Abdiraxmanov</cp:lastModifiedBy>
  <cp:revision>3864</cp:revision>
  <cp:lastPrinted>2021-04-21T09:36:13Z</cp:lastPrinted>
  <dcterms:created xsi:type="dcterms:W3CDTF">2021-04-08T09:49:00Z</dcterms:created>
  <dcterms:modified xsi:type="dcterms:W3CDTF">2025-01-21T06:08:22Z</dcterms:modified>
</cp:coreProperties>
</file>